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diagrams/colors11.xml" ContentType="application/vnd.openxmlformats-officedocument.drawingml.diagramColor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diagrams/layout9.xml" ContentType="application/vnd.openxmlformats-officedocument.drawingml.diagramLayout+xml"/>
  <Override PartName="/ppt/diagrams/data11.xml" ContentType="application/vnd.openxmlformats-officedocument.drawingml.diagramData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diagrams/layout11.xml" ContentType="application/vnd.openxmlformats-officedocument.drawingml.diagramLayout+xml"/>
  <Override PartName="/ppt/tags/tag9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diagrams/colors10.xml" ContentType="application/vnd.openxmlformats-officedocument.drawingml.diagramColor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Default Extension="wdp" ContentType="image/vnd.ms-photo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notesSlides/notesSlide6.xml" ContentType="application/vnd.openxmlformats-officedocument.presentationml.notesSlide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402" r:id="rId2"/>
    <p:sldId id="264" r:id="rId3"/>
    <p:sldId id="400" r:id="rId4"/>
    <p:sldId id="398" r:id="rId5"/>
    <p:sldId id="333" r:id="rId6"/>
    <p:sldId id="337" r:id="rId7"/>
    <p:sldId id="407" r:id="rId8"/>
    <p:sldId id="339" r:id="rId9"/>
    <p:sldId id="410" r:id="rId10"/>
    <p:sldId id="413" r:id="rId11"/>
    <p:sldId id="404" r:id="rId12"/>
    <p:sldId id="406" r:id="rId13"/>
    <p:sldId id="409" r:id="rId14"/>
    <p:sldId id="408" r:id="rId15"/>
    <p:sldId id="414" r:id="rId16"/>
    <p:sldId id="356" r:id="rId17"/>
  </p:sldIdLst>
  <p:sldSz cx="12192000" cy="6858000"/>
  <p:notesSz cx="6858000" cy="9144000"/>
  <p:defaultTextStyle>
    <a:defPPr>
      <a:defRPr lang="es-EC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33"/>
    <a:srgbClr val="006600"/>
    <a:srgbClr val="CC0000"/>
    <a:srgbClr val="000000"/>
    <a:srgbClr val="008000"/>
    <a:srgbClr val="66FF33"/>
    <a:srgbClr val="00CC00"/>
    <a:srgbClr val="4F81BD"/>
    <a:srgbClr val="003300"/>
    <a:srgbClr val="0000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386" autoAdjust="0"/>
    <p:restoredTop sz="81362" autoAdjust="0"/>
  </p:normalViewPr>
  <p:slideViewPr>
    <p:cSldViewPr>
      <p:cViewPr varScale="1">
        <p:scale>
          <a:sx n="56" d="100"/>
          <a:sy n="56" d="100"/>
        </p:scale>
        <p:origin x="-912" y="-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image" Target="../media/image44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ata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image" Target="../media/image41.jpe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2.jpeg"/></Relationships>
</file>

<file path=ppt/diagrams/_rels/data9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_rels/drawing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image" Target="../media/image44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rawing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image" Target="../media/image41.jpeg"/></Relationships>
</file>

<file path=ppt/diagrams/_rels/drawing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2.jpeg"/></Relationships>
</file>

<file path=ppt/diagrams/_rels/drawing9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2AFAFF-8336-44D6-A4EA-6F7E59F33790}" type="doc">
      <dgm:prSet loTypeId="urn:microsoft.com/office/officeart/2005/8/layout/StepDownProcess" loCatId="process" qsTypeId="urn:microsoft.com/office/officeart/2005/8/quickstyle/3d1" qsCatId="3D" csTypeId="urn:microsoft.com/office/officeart/2005/8/colors/accent3_2" csCatId="accent3" phldr="1"/>
      <dgm:spPr/>
      <dgm:t>
        <a:bodyPr/>
        <a:lstStyle/>
        <a:p>
          <a:endParaRPr lang="es-EC"/>
        </a:p>
      </dgm:t>
    </dgm:pt>
    <dgm:pt modelId="{3701AF75-C0C8-4DAC-9CF4-11C88D211480}">
      <dgm:prSet phldrT="[Texto]"/>
      <dgm:spPr/>
      <dgm:t>
        <a:bodyPr/>
        <a:lstStyle/>
        <a:p>
          <a:r>
            <a:rPr lang="es-EC" dirty="0" smtClean="0"/>
            <a:t>Art. 14 and 400</a:t>
          </a:r>
          <a:endParaRPr lang="es-EC" dirty="0"/>
        </a:p>
      </dgm:t>
    </dgm:pt>
    <dgm:pt modelId="{7143E28A-8352-4FA0-96E7-2CDDE76DB749}" type="parTrans" cxnId="{9555B25C-928D-44CF-A34D-CF840106199E}">
      <dgm:prSet/>
      <dgm:spPr/>
      <dgm:t>
        <a:bodyPr/>
        <a:lstStyle/>
        <a:p>
          <a:endParaRPr lang="es-EC"/>
        </a:p>
      </dgm:t>
    </dgm:pt>
    <dgm:pt modelId="{56A300B6-25F1-47CA-BC34-32E40C565D73}" type="sibTrans" cxnId="{9555B25C-928D-44CF-A34D-CF840106199E}">
      <dgm:prSet/>
      <dgm:spPr/>
      <dgm:t>
        <a:bodyPr/>
        <a:lstStyle/>
        <a:p>
          <a:endParaRPr lang="es-EC"/>
        </a:p>
      </dgm:t>
    </dgm:pt>
    <dgm:pt modelId="{C36163FB-FBB5-4612-B7A8-78D4881656B4}">
      <dgm:prSet phldrT="[Texto]"/>
      <dgm:spPr/>
      <dgm:t>
        <a:bodyPr/>
        <a:lstStyle/>
        <a:p>
          <a:endParaRPr lang="es-EC" dirty="0"/>
        </a:p>
      </dgm:t>
    </dgm:pt>
    <dgm:pt modelId="{BC203A51-5293-4F82-AF9E-26D69E4C497E}" type="parTrans" cxnId="{11F52212-A580-45AE-98CB-916909BC134C}">
      <dgm:prSet/>
      <dgm:spPr/>
      <dgm:t>
        <a:bodyPr/>
        <a:lstStyle/>
        <a:p>
          <a:endParaRPr lang="es-EC"/>
        </a:p>
      </dgm:t>
    </dgm:pt>
    <dgm:pt modelId="{8333629C-96E6-4989-81E5-8CC485880F14}" type="sibTrans" cxnId="{11F52212-A580-45AE-98CB-916909BC134C}">
      <dgm:prSet/>
      <dgm:spPr/>
      <dgm:t>
        <a:bodyPr/>
        <a:lstStyle/>
        <a:p>
          <a:endParaRPr lang="es-EC"/>
        </a:p>
      </dgm:t>
    </dgm:pt>
    <dgm:pt modelId="{45E572B8-F191-45D9-BA26-1E072A9FC600}">
      <dgm:prSet phldrT="[Texto]"/>
      <dgm:spPr/>
      <dgm:t>
        <a:bodyPr/>
        <a:lstStyle/>
        <a:p>
          <a:r>
            <a:rPr lang="es-EC" dirty="0" smtClean="0"/>
            <a:t>Art. 395</a:t>
          </a:r>
          <a:endParaRPr lang="es-EC" dirty="0"/>
        </a:p>
      </dgm:t>
    </dgm:pt>
    <dgm:pt modelId="{5FFFCBB4-A196-4DAB-98CC-305A963D3CF3}" type="parTrans" cxnId="{7C4EFD59-B09E-4788-90F8-74DFAFFE7472}">
      <dgm:prSet/>
      <dgm:spPr/>
      <dgm:t>
        <a:bodyPr/>
        <a:lstStyle/>
        <a:p>
          <a:endParaRPr lang="es-EC"/>
        </a:p>
      </dgm:t>
    </dgm:pt>
    <dgm:pt modelId="{87D2FF73-0723-45D3-9EE1-D87710697AEA}" type="sibTrans" cxnId="{7C4EFD59-B09E-4788-90F8-74DFAFFE7472}">
      <dgm:prSet/>
      <dgm:spPr/>
      <dgm:t>
        <a:bodyPr/>
        <a:lstStyle/>
        <a:p>
          <a:endParaRPr lang="es-EC"/>
        </a:p>
      </dgm:t>
    </dgm:pt>
    <dgm:pt modelId="{7A49F2A8-A5AA-4288-8C4D-91006801C784}">
      <dgm:prSet phldrT="[Texto]" custT="1"/>
      <dgm:spPr/>
      <dgm:t>
        <a:bodyPr/>
        <a:lstStyle/>
        <a:p>
          <a:endParaRPr lang="es-EC" sz="1800" dirty="0"/>
        </a:p>
      </dgm:t>
    </dgm:pt>
    <dgm:pt modelId="{0A573B4D-2288-4862-9CE2-5EFC92016930}" type="parTrans" cxnId="{5D40E66A-636B-4CBF-BFD0-9F2C94DD053D}">
      <dgm:prSet/>
      <dgm:spPr/>
      <dgm:t>
        <a:bodyPr/>
        <a:lstStyle/>
        <a:p>
          <a:endParaRPr lang="es-EC"/>
        </a:p>
      </dgm:t>
    </dgm:pt>
    <dgm:pt modelId="{A557CDB3-6E8A-4075-8580-1A11DEED1472}" type="sibTrans" cxnId="{5D40E66A-636B-4CBF-BFD0-9F2C94DD053D}">
      <dgm:prSet/>
      <dgm:spPr/>
      <dgm:t>
        <a:bodyPr/>
        <a:lstStyle/>
        <a:p>
          <a:endParaRPr lang="es-EC"/>
        </a:p>
      </dgm:t>
    </dgm:pt>
    <dgm:pt modelId="{C5FA90C7-7BC1-4B1B-9730-9EA1BD5C0288}">
      <dgm:prSet/>
      <dgm:spPr/>
      <dgm:t>
        <a:bodyPr/>
        <a:lstStyle/>
        <a:p>
          <a:r>
            <a:rPr lang="es-EC" dirty="0" smtClean="0"/>
            <a:t>Art. 313</a:t>
          </a:r>
          <a:endParaRPr lang="es-EC" dirty="0"/>
        </a:p>
      </dgm:t>
    </dgm:pt>
    <dgm:pt modelId="{6608DEF2-B66A-4420-9A4D-76F089D2DADB}" type="parTrans" cxnId="{B089433D-98B3-4ECE-B939-B753AF44B20C}">
      <dgm:prSet/>
      <dgm:spPr/>
      <dgm:t>
        <a:bodyPr/>
        <a:lstStyle/>
        <a:p>
          <a:endParaRPr lang="es-EC"/>
        </a:p>
      </dgm:t>
    </dgm:pt>
    <dgm:pt modelId="{A1ECE367-717C-47BC-B905-101ACEBDC403}" type="sibTrans" cxnId="{B089433D-98B3-4ECE-B939-B753AF44B20C}">
      <dgm:prSet/>
      <dgm:spPr/>
      <dgm:t>
        <a:bodyPr/>
        <a:lstStyle/>
        <a:p>
          <a:endParaRPr lang="es-EC"/>
        </a:p>
      </dgm:t>
    </dgm:pt>
    <dgm:pt modelId="{C25B32AF-AA80-4856-A6F3-815622B5B74D}" type="pres">
      <dgm:prSet presAssocID="{322AFAFF-8336-44D6-A4EA-6F7E59F33790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s-EC"/>
        </a:p>
      </dgm:t>
    </dgm:pt>
    <dgm:pt modelId="{4A5F780E-C6BC-456C-84A7-A4DEDD1F628C}" type="pres">
      <dgm:prSet presAssocID="{3701AF75-C0C8-4DAC-9CF4-11C88D211480}" presName="composite" presStyleCnt="0"/>
      <dgm:spPr/>
    </dgm:pt>
    <dgm:pt modelId="{20EDA7A7-AEC7-4EB4-9AA0-5FBEC2E7E7ED}" type="pres">
      <dgm:prSet presAssocID="{3701AF75-C0C8-4DAC-9CF4-11C88D211480}" presName="bentUpArrow1" presStyleLbl="alignImgPlace1" presStyleIdx="0" presStyleCnt="2" custLinFactNeighborX="22862" custLinFactNeighborY="-46911"/>
      <dgm:spPr/>
    </dgm:pt>
    <dgm:pt modelId="{566F183C-7019-4089-96FC-932235F366CF}" type="pres">
      <dgm:prSet presAssocID="{3701AF75-C0C8-4DAC-9CF4-11C88D211480}" presName="ParentText" presStyleLbl="node1" presStyleIdx="0" presStyleCnt="3" custScaleX="67523" custScaleY="67523" custLinFactNeighborX="-2877" custLinFactNeighborY="-2799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F2AFE8D-5D25-4F21-A3EC-E7A44EFAFB15}" type="pres">
      <dgm:prSet presAssocID="{3701AF75-C0C8-4DAC-9CF4-11C88D211480}" presName="ChildText" presStyleLbl="revTx" presStyleIdx="0" presStyleCnt="3" custScaleX="260253" custLinFactNeighborX="57319" custLinFactNeighborY="-3039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A9BE24D2-A563-458D-AC68-C04D056FE4C8}" type="pres">
      <dgm:prSet presAssocID="{56A300B6-25F1-47CA-BC34-32E40C565D73}" presName="sibTrans" presStyleCnt="0"/>
      <dgm:spPr/>
    </dgm:pt>
    <dgm:pt modelId="{F1B1BE05-1870-4299-97DC-00FA882FA51B}" type="pres">
      <dgm:prSet presAssocID="{C5FA90C7-7BC1-4B1B-9730-9EA1BD5C0288}" presName="composite" presStyleCnt="0"/>
      <dgm:spPr/>
    </dgm:pt>
    <dgm:pt modelId="{E9A2A5B3-8C7A-401E-B6A6-2D9FD324F42D}" type="pres">
      <dgm:prSet presAssocID="{C5FA90C7-7BC1-4B1B-9730-9EA1BD5C0288}" presName="bentUpArrow1" presStyleLbl="alignImgPlace1" presStyleIdx="1" presStyleCnt="2" custLinFactNeighborX="13902" custLinFactNeighborY="-33826"/>
      <dgm:spPr/>
    </dgm:pt>
    <dgm:pt modelId="{1AC47BE7-EB63-47D1-B344-2C1420ED6B14}" type="pres">
      <dgm:prSet presAssocID="{C5FA90C7-7BC1-4B1B-9730-9EA1BD5C0288}" presName="ParentText" presStyleLbl="node1" presStyleIdx="1" presStyleCnt="3" custScaleX="66652" custScaleY="68975" custLinFactNeighborX="-24265" custLinFactNeighborY="-2187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DF7A3C32-6E08-4F98-8F0F-2C176BC53BC3}" type="pres">
      <dgm:prSet presAssocID="{C5FA90C7-7BC1-4B1B-9730-9EA1BD5C0288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4F963938-BBC0-4DD3-A6BC-E65D46A70F47}" type="pres">
      <dgm:prSet presAssocID="{A1ECE367-717C-47BC-B905-101ACEBDC403}" presName="sibTrans" presStyleCnt="0"/>
      <dgm:spPr/>
    </dgm:pt>
    <dgm:pt modelId="{8E238607-FC9C-445B-9EFE-B6AF06DA5457}" type="pres">
      <dgm:prSet presAssocID="{45E572B8-F191-45D9-BA26-1E072A9FC600}" presName="composite" presStyleCnt="0"/>
      <dgm:spPr/>
    </dgm:pt>
    <dgm:pt modelId="{79CA35AC-A933-4F3B-82ED-D072540408CF}" type="pres">
      <dgm:prSet presAssocID="{45E572B8-F191-45D9-BA26-1E072A9FC600}" presName="ParentText" presStyleLbl="node1" presStyleIdx="2" presStyleCnt="3" custScaleX="67523" custScaleY="67523" custLinFactNeighborX="-21217" custLinFactNeighborY="-706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2F9228A0-C4B4-4C28-A6CA-560D0E53F30A}" type="pres">
      <dgm:prSet presAssocID="{45E572B8-F191-45D9-BA26-1E072A9FC600}" presName="FinalChildText" presStyleLbl="revTx" presStyleIdx="2" presStyleCnt="3" custScaleX="261052" custLinFactY="-53475" custLinFactNeighborX="-93759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B5FE305A-08AA-47A6-A581-8AD7FE662299}" type="presOf" srcId="{45E572B8-F191-45D9-BA26-1E072A9FC600}" destId="{79CA35AC-A933-4F3B-82ED-D072540408CF}" srcOrd="0" destOrd="0" presId="urn:microsoft.com/office/officeart/2005/8/layout/StepDownProcess"/>
    <dgm:cxn modelId="{5D40E66A-636B-4CBF-BFD0-9F2C94DD053D}" srcId="{45E572B8-F191-45D9-BA26-1E072A9FC600}" destId="{7A49F2A8-A5AA-4288-8C4D-91006801C784}" srcOrd="0" destOrd="0" parTransId="{0A573B4D-2288-4862-9CE2-5EFC92016930}" sibTransId="{A557CDB3-6E8A-4075-8580-1A11DEED1472}"/>
    <dgm:cxn modelId="{9555B25C-928D-44CF-A34D-CF840106199E}" srcId="{322AFAFF-8336-44D6-A4EA-6F7E59F33790}" destId="{3701AF75-C0C8-4DAC-9CF4-11C88D211480}" srcOrd="0" destOrd="0" parTransId="{7143E28A-8352-4FA0-96E7-2CDDE76DB749}" sibTransId="{56A300B6-25F1-47CA-BC34-32E40C565D73}"/>
    <dgm:cxn modelId="{0E1E0BF8-C158-4E04-B99E-83CC6210F4FA}" type="presOf" srcId="{C36163FB-FBB5-4612-B7A8-78D4881656B4}" destId="{8F2AFE8D-5D25-4F21-A3EC-E7A44EFAFB15}" srcOrd="0" destOrd="0" presId="urn:microsoft.com/office/officeart/2005/8/layout/StepDownProcess"/>
    <dgm:cxn modelId="{4DD77AAE-DE0A-42EA-9938-1F51C786D8F6}" type="presOf" srcId="{322AFAFF-8336-44D6-A4EA-6F7E59F33790}" destId="{C25B32AF-AA80-4856-A6F3-815622B5B74D}" srcOrd="0" destOrd="0" presId="urn:microsoft.com/office/officeart/2005/8/layout/StepDownProcess"/>
    <dgm:cxn modelId="{4A4B3EBB-14F0-4298-B1ED-1CE0C524A0D8}" type="presOf" srcId="{C5FA90C7-7BC1-4B1B-9730-9EA1BD5C0288}" destId="{1AC47BE7-EB63-47D1-B344-2C1420ED6B14}" srcOrd="0" destOrd="0" presId="urn:microsoft.com/office/officeart/2005/8/layout/StepDownProcess"/>
    <dgm:cxn modelId="{7C4EFD59-B09E-4788-90F8-74DFAFFE7472}" srcId="{322AFAFF-8336-44D6-A4EA-6F7E59F33790}" destId="{45E572B8-F191-45D9-BA26-1E072A9FC600}" srcOrd="2" destOrd="0" parTransId="{5FFFCBB4-A196-4DAB-98CC-305A963D3CF3}" sibTransId="{87D2FF73-0723-45D3-9EE1-D87710697AEA}"/>
    <dgm:cxn modelId="{3D60E027-9819-45C8-9451-279D737404A3}" type="presOf" srcId="{7A49F2A8-A5AA-4288-8C4D-91006801C784}" destId="{2F9228A0-C4B4-4C28-A6CA-560D0E53F30A}" srcOrd="0" destOrd="0" presId="urn:microsoft.com/office/officeart/2005/8/layout/StepDownProcess"/>
    <dgm:cxn modelId="{B089433D-98B3-4ECE-B939-B753AF44B20C}" srcId="{322AFAFF-8336-44D6-A4EA-6F7E59F33790}" destId="{C5FA90C7-7BC1-4B1B-9730-9EA1BD5C0288}" srcOrd="1" destOrd="0" parTransId="{6608DEF2-B66A-4420-9A4D-76F089D2DADB}" sibTransId="{A1ECE367-717C-47BC-B905-101ACEBDC403}"/>
    <dgm:cxn modelId="{C5DA4F26-39D8-4F67-B197-F310757E45F3}" type="presOf" srcId="{3701AF75-C0C8-4DAC-9CF4-11C88D211480}" destId="{566F183C-7019-4089-96FC-932235F366CF}" srcOrd="0" destOrd="0" presId="urn:microsoft.com/office/officeart/2005/8/layout/StepDownProcess"/>
    <dgm:cxn modelId="{11F52212-A580-45AE-98CB-916909BC134C}" srcId="{3701AF75-C0C8-4DAC-9CF4-11C88D211480}" destId="{C36163FB-FBB5-4612-B7A8-78D4881656B4}" srcOrd="0" destOrd="0" parTransId="{BC203A51-5293-4F82-AF9E-26D69E4C497E}" sibTransId="{8333629C-96E6-4989-81E5-8CC485880F14}"/>
    <dgm:cxn modelId="{1AD3AAE8-8B79-4530-AC5C-460E4A88F02B}" type="presParOf" srcId="{C25B32AF-AA80-4856-A6F3-815622B5B74D}" destId="{4A5F780E-C6BC-456C-84A7-A4DEDD1F628C}" srcOrd="0" destOrd="0" presId="urn:microsoft.com/office/officeart/2005/8/layout/StepDownProcess"/>
    <dgm:cxn modelId="{84208920-6F14-4477-B135-9B417A5BAB27}" type="presParOf" srcId="{4A5F780E-C6BC-456C-84A7-A4DEDD1F628C}" destId="{20EDA7A7-AEC7-4EB4-9AA0-5FBEC2E7E7ED}" srcOrd="0" destOrd="0" presId="urn:microsoft.com/office/officeart/2005/8/layout/StepDownProcess"/>
    <dgm:cxn modelId="{1A493C51-CD94-430A-8A0F-74A894C0F5A9}" type="presParOf" srcId="{4A5F780E-C6BC-456C-84A7-A4DEDD1F628C}" destId="{566F183C-7019-4089-96FC-932235F366CF}" srcOrd="1" destOrd="0" presId="urn:microsoft.com/office/officeart/2005/8/layout/StepDownProcess"/>
    <dgm:cxn modelId="{8A92405B-E27F-42A4-86C2-61C7FB178CED}" type="presParOf" srcId="{4A5F780E-C6BC-456C-84A7-A4DEDD1F628C}" destId="{8F2AFE8D-5D25-4F21-A3EC-E7A44EFAFB15}" srcOrd="2" destOrd="0" presId="urn:microsoft.com/office/officeart/2005/8/layout/StepDownProcess"/>
    <dgm:cxn modelId="{37925119-9CB7-47E4-87E4-40DF7607DCB3}" type="presParOf" srcId="{C25B32AF-AA80-4856-A6F3-815622B5B74D}" destId="{A9BE24D2-A563-458D-AC68-C04D056FE4C8}" srcOrd="1" destOrd="0" presId="urn:microsoft.com/office/officeart/2005/8/layout/StepDownProcess"/>
    <dgm:cxn modelId="{BFD90C76-E6E5-4622-A42C-39D5D08CC93E}" type="presParOf" srcId="{C25B32AF-AA80-4856-A6F3-815622B5B74D}" destId="{F1B1BE05-1870-4299-97DC-00FA882FA51B}" srcOrd="2" destOrd="0" presId="urn:microsoft.com/office/officeart/2005/8/layout/StepDownProcess"/>
    <dgm:cxn modelId="{EE2B6D3D-5389-4886-91A9-9740103517CC}" type="presParOf" srcId="{F1B1BE05-1870-4299-97DC-00FA882FA51B}" destId="{E9A2A5B3-8C7A-401E-B6A6-2D9FD324F42D}" srcOrd="0" destOrd="0" presId="urn:microsoft.com/office/officeart/2005/8/layout/StepDownProcess"/>
    <dgm:cxn modelId="{F909154B-7116-46BA-B090-D25B3D78DAF3}" type="presParOf" srcId="{F1B1BE05-1870-4299-97DC-00FA882FA51B}" destId="{1AC47BE7-EB63-47D1-B344-2C1420ED6B14}" srcOrd="1" destOrd="0" presId="urn:microsoft.com/office/officeart/2005/8/layout/StepDownProcess"/>
    <dgm:cxn modelId="{8B77044B-05CC-4630-9604-539753A48A9F}" type="presParOf" srcId="{F1B1BE05-1870-4299-97DC-00FA882FA51B}" destId="{DF7A3C32-6E08-4F98-8F0F-2C176BC53BC3}" srcOrd="2" destOrd="0" presId="urn:microsoft.com/office/officeart/2005/8/layout/StepDownProcess"/>
    <dgm:cxn modelId="{CF2E4EE6-8CE9-4661-A0BE-7F0B7D6A2C75}" type="presParOf" srcId="{C25B32AF-AA80-4856-A6F3-815622B5B74D}" destId="{4F963938-BBC0-4DD3-A6BC-E65D46A70F47}" srcOrd="3" destOrd="0" presId="urn:microsoft.com/office/officeart/2005/8/layout/StepDownProcess"/>
    <dgm:cxn modelId="{EFB063CF-9A64-495E-BCF3-71B1E2698434}" type="presParOf" srcId="{C25B32AF-AA80-4856-A6F3-815622B5B74D}" destId="{8E238607-FC9C-445B-9EFE-B6AF06DA5457}" srcOrd="4" destOrd="0" presId="urn:microsoft.com/office/officeart/2005/8/layout/StepDownProcess"/>
    <dgm:cxn modelId="{F93653F6-1112-4FAA-BEEF-3EBDD2401BF6}" type="presParOf" srcId="{8E238607-FC9C-445B-9EFE-B6AF06DA5457}" destId="{79CA35AC-A933-4F3B-82ED-D072540408CF}" srcOrd="0" destOrd="0" presId="urn:microsoft.com/office/officeart/2005/8/layout/StepDownProcess"/>
    <dgm:cxn modelId="{CE2CED69-22B9-45F7-A722-A7D9C1F82699}" type="presParOf" srcId="{8E238607-FC9C-445B-9EFE-B6AF06DA5457}" destId="{2F9228A0-C4B4-4C28-A6CA-560D0E53F30A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AEB90D9-6B5D-457B-8D70-4ED1A4349203}" type="doc">
      <dgm:prSet loTypeId="urn:microsoft.com/office/officeart/2005/8/layout/hList7#1" loCatId="relationship" qsTypeId="urn:microsoft.com/office/officeart/2005/8/quickstyle/simple1" qsCatId="simple" csTypeId="urn:microsoft.com/office/officeart/2005/8/colors/accent2_4" csCatId="accent2" phldr="1"/>
      <dgm:spPr/>
    </dgm:pt>
    <dgm:pt modelId="{44BA3EB1-A6B7-44AB-AB80-64B5E3C35B71}">
      <dgm:prSet phldrT="[Texto]"/>
      <dgm:spPr/>
      <dgm:t>
        <a:bodyPr/>
        <a:lstStyle/>
        <a:p>
          <a:endParaRPr lang="es-EC" dirty="0"/>
        </a:p>
      </dgm:t>
    </dgm:pt>
    <dgm:pt modelId="{18BF32EA-B741-4B67-A9B2-B9C5EF89DCF9}" type="parTrans" cxnId="{133A1E92-79F9-4C4A-9696-278B04A0966D}">
      <dgm:prSet/>
      <dgm:spPr/>
      <dgm:t>
        <a:bodyPr/>
        <a:lstStyle/>
        <a:p>
          <a:endParaRPr lang="es-EC"/>
        </a:p>
      </dgm:t>
    </dgm:pt>
    <dgm:pt modelId="{5B3B5914-8494-43FF-8AE2-38215C9113D0}" type="sibTrans" cxnId="{133A1E92-79F9-4C4A-9696-278B04A0966D}">
      <dgm:prSet/>
      <dgm:spPr/>
      <dgm:t>
        <a:bodyPr/>
        <a:lstStyle/>
        <a:p>
          <a:endParaRPr lang="es-EC"/>
        </a:p>
      </dgm:t>
    </dgm:pt>
    <dgm:pt modelId="{AB62BC9D-4EF1-470E-9885-F5244D7309F8}">
      <dgm:prSet phldrT="[Texto]"/>
      <dgm:spPr/>
      <dgm:t>
        <a:bodyPr/>
        <a:lstStyle/>
        <a:p>
          <a:r>
            <a:rPr lang="es-EC" dirty="0" smtClean="0"/>
            <a:t> </a:t>
          </a:r>
          <a:endParaRPr lang="es-EC" dirty="0"/>
        </a:p>
      </dgm:t>
    </dgm:pt>
    <dgm:pt modelId="{107E7EE1-0515-4829-AE7C-F06BF8C7C1FE}" type="parTrans" cxnId="{65BED7B7-C1A3-46E3-81DB-BA660E32C6CC}">
      <dgm:prSet/>
      <dgm:spPr/>
      <dgm:t>
        <a:bodyPr/>
        <a:lstStyle/>
        <a:p>
          <a:endParaRPr lang="es-EC"/>
        </a:p>
      </dgm:t>
    </dgm:pt>
    <dgm:pt modelId="{9BEF520D-BFF0-47BC-9D62-46A86A31CA6D}" type="sibTrans" cxnId="{65BED7B7-C1A3-46E3-81DB-BA660E32C6CC}">
      <dgm:prSet/>
      <dgm:spPr/>
      <dgm:t>
        <a:bodyPr/>
        <a:lstStyle/>
        <a:p>
          <a:endParaRPr lang="es-EC"/>
        </a:p>
      </dgm:t>
    </dgm:pt>
    <dgm:pt modelId="{4A3D9316-66CF-4134-9863-9B1CCF9D7ED2}">
      <dgm:prSet/>
      <dgm:spPr/>
      <dgm:t>
        <a:bodyPr/>
        <a:lstStyle/>
        <a:p>
          <a:endParaRPr lang="es-EC"/>
        </a:p>
      </dgm:t>
    </dgm:pt>
    <dgm:pt modelId="{63CEDADF-7378-4B79-B550-EE37AC2124DF}" type="parTrans" cxnId="{084184B9-B77C-41AE-9B20-929B2CFB775E}">
      <dgm:prSet/>
      <dgm:spPr/>
      <dgm:t>
        <a:bodyPr/>
        <a:lstStyle/>
        <a:p>
          <a:endParaRPr lang="es-EC"/>
        </a:p>
      </dgm:t>
    </dgm:pt>
    <dgm:pt modelId="{49594D04-5102-4053-9403-3C361B8B1EBF}" type="sibTrans" cxnId="{084184B9-B77C-41AE-9B20-929B2CFB775E}">
      <dgm:prSet/>
      <dgm:spPr/>
      <dgm:t>
        <a:bodyPr/>
        <a:lstStyle/>
        <a:p>
          <a:endParaRPr lang="es-EC"/>
        </a:p>
      </dgm:t>
    </dgm:pt>
    <dgm:pt modelId="{9104B203-56BD-4CF2-82C6-730AF7F056BC}">
      <dgm:prSet/>
      <dgm:spPr/>
      <dgm:t>
        <a:bodyPr/>
        <a:lstStyle/>
        <a:p>
          <a:endParaRPr lang="es-EC"/>
        </a:p>
      </dgm:t>
    </dgm:pt>
    <dgm:pt modelId="{BAE55D18-7065-43B9-9CAE-D128CE741714}" type="parTrans" cxnId="{48896B6C-3957-44B9-A1E0-5C3CC9FCF736}">
      <dgm:prSet/>
      <dgm:spPr/>
      <dgm:t>
        <a:bodyPr/>
        <a:lstStyle/>
        <a:p>
          <a:endParaRPr lang="es-EC"/>
        </a:p>
      </dgm:t>
    </dgm:pt>
    <dgm:pt modelId="{2750E96D-27F1-4A1D-B9DD-B0EF5DB29473}" type="sibTrans" cxnId="{48896B6C-3957-44B9-A1E0-5C3CC9FCF736}">
      <dgm:prSet/>
      <dgm:spPr/>
      <dgm:t>
        <a:bodyPr/>
        <a:lstStyle/>
        <a:p>
          <a:endParaRPr lang="es-EC"/>
        </a:p>
      </dgm:t>
    </dgm:pt>
    <dgm:pt modelId="{A17BC5C4-C8AD-437D-B4DA-7F7088A236D3}">
      <dgm:prSet phldrT="[Texto]"/>
      <dgm:spPr/>
      <dgm:t>
        <a:bodyPr/>
        <a:lstStyle/>
        <a:p>
          <a:r>
            <a:rPr lang="es-EC" dirty="0" smtClean="0"/>
            <a:t> </a:t>
          </a:r>
          <a:endParaRPr lang="es-EC" dirty="0"/>
        </a:p>
      </dgm:t>
    </dgm:pt>
    <dgm:pt modelId="{EF2D111A-E685-48E7-BD03-C0FEDDE8E7AF}" type="sibTrans" cxnId="{83A853E6-3DD5-427D-BFC1-7AB28C53D3B4}">
      <dgm:prSet/>
      <dgm:spPr/>
      <dgm:t>
        <a:bodyPr/>
        <a:lstStyle/>
        <a:p>
          <a:endParaRPr lang="es-EC"/>
        </a:p>
      </dgm:t>
    </dgm:pt>
    <dgm:pt modelId="{3676F82A-FBCA-40B2-BA21-87AE49304D70}" type="parTrans" cxnId="{83A853E6-3DD5-427D-BFC1-7AB28C53D3B4}">
      <dgm:prSet/>
      <dgm:spPr/>
      <dgm:t>
        <a:bodyPr/>
        <a:lstStyle/>
        <a:p>
          <a:endParaRPr lang="es-EC"/>
        </a:p>
      </dgm:t>
    </dgm:pt>
    <dgm:pt modelId="{7BFECD8C-9508-4558-8CE1-74D18083F811}" type="pres">
      <dgm:prSet presAssocID="{EAEB90D9-6B5D-457B-8D70-4ED1A4349203}" presName="Name0" presStyleCnt="0">
        <dgm:presLayoutVars>
          <dgm:dir/>
          <dgm:resizeHandles val="exact"/>
        </dgm:presLayoutVars>
      </dgm:prSet>
      <dgm:spPr/>
    </dgm:pt>
    <dgm:pt modelId="{3E7293B9-A768-414D-90C7-B6B2492495EA}" type="pres">
      <dgm:prSet presAssocID="{EAEB90D9-6B5D-457B-8D70-4ED1A4349203}" presName="fgShape" presStyleLbl="fgShp" presStyleIdx="0" presStyleCnt="1" custScaleY="128307" custLinFactNeighborY="-29361"/>
      <dgm:spPr/>
    </dgm:pt>
    <dgm:pt modelId="{91CD5E8B-7922-4803-9139-3238F877F359}" type="pres">
      <dgm:prSet presAssocID="{EAEB90D9-6B5D-457B-8D70-4ED1A4349203}" presName="linComp" presStyleCnt="0"/>
      <dgm:spPr/>
    </dgm:pt>
    <dgm:pt modelId="{902B8EFF-8930-4281-B631-17149F5A63B2}" type="pres">
      <dgm:prSet presAssocID="{4A3D9316-66CF-4134-9863-9B1CCF9D7ED2}" presName="compNode" presStyleCnt="0"/>
      <dgm:spPr/>
    </dgm:pt>
    <dgm:pt modelId="{D9AD6CA3-9253-481B-B443-00B86A36E33A}" type="pres">
      <dgm:prSet presAssocID="{4A3D9316-66CF-4134-9863-9B1CCF9D7ED2}" presName="bkgdShape" presStyleLbl="node1" presStyleIdx="0" presStyleCnt="5" custLinFactNeighborY="-6117"/>
      <dgm:spPr/>
      <dgm:t>
        <a:bodyPr/>
        <a:lstStyle/>
        <a:p>
          <a:endParaRPr lang="es-EC"/>
        </a:p>
      </dgm:t>
    </dgm:pt>
    <dgm:pt modelId="{72A025D5-39FC-478E-88C9-BFA05F9411E0}" type="pres">
      <dgm:prSet presAssocID="{4A3D9316-66CF-4134-9863-9B1CCF9D7ED2}" presName="nodeTx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431E4C1C-9BD3-4A43-B59F-C7ED9FEFF77B}" type="pres">
      <dgm:prSet presAssocID="{4A3D9316-66CF-4134-9863-9B1CCF9D7ED2}" presName="invisiNode" presStyleLbl="node1" presStyleIdx="0" presStyleCnt="5"/>
      <dgm:spPr/>
    </dgm:pt>
    <dgm:pt modelId="{50AD52C5-19AC-4FA5-B081-BE88EF1D6D14}" type="pres">
      <dgm:prSet presAssocID="{4A3D9316-66CF-4134-9863-9B1CCF9D7ED2}" presName="imagNode" presStyleLbl="fgImgPlace1" presStyleIdx="0" presStyleCnt="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41889DA9-CCBE-4C62-8451-44397792D31E}" type="pres">
      <dgm:prSet presAssocID="{49594D04-5102-4053-9403-3C361B8B1EBF}" presName="sibTrans" presStyleLbl="sibTrans2D1" presStyleIdx="0" presStyleCnt="0"/>
      <dgm:spPr/>
      <dgm:t>
        <a:bodyPr/>
        <a:lstStyle/>
        <a:p>
          <a:endParaRPr lang="es-EC"/>
        </a:p>
      </dgm:t>
    </dgm:pt>
    <dgm:pt modelId="{73CA6441-0D1D-409B-904E-B6ED5239DFBE}" type="pres">
      <dgm:prSet presAssocID="{9104B203-56BD-4CF2-82C6-730AF7F056BC}" presName="compNode" presStyleCnt="0"/>
      <dgm:spPr/>
    </dgm:pt>
    <dgm:pt modelId="{758E7A6C-1756-4EC9-BB8C-4CCB9216B07E}" type="pres">
      <dgm:prSet presAssocID="{9104B203-56BD-4CF2-82C6-730AF7F056BC}" presName="bkgdShape" presStyleLbl="node1" presStyleIdx="1" presStyleCnt="5"/>
      <dgm:spPr/>
      <dgm:t>
        <a:bodyPr/>
        <a:lstStyle/>
        <a:p>
          <a:endParaRPr lang="es-EC"/>
        </a:p>
      </dgm:t>
    </dgm:pt>
    <dgm:pt modelId="{9C844C7B-5A27-4F2C-9AA4-F1FC45CF8358}" type="pres">
      <dgm:prSet presAssocID="{9104B203-56BD-4CF2-82C6-730AF7F056BC}" presName="nodeTx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69BED829-167D-4014-8866-EC9B65BF4073}" type="pres">
      <dgm:prSet presAssocID="{9104B203-56BD-4CF2-82C6-730AF7F056BC}" presName="invisiNode" presStyleLbl="node1" presStyleIdx="1" presStyleCnt="5"/>
      <dgm:spPr/>
    </dgm:pt>
    <dgm:pt modelId="{1C65D727-7489-4731-9AF6-C2F598E35C16}" type="pres">
      <dgm:prSet presAssocID="{9104B203-56BD-4CF2-82C6-730AF7F056BC}" presName="imagNode" presStyleLbl="fgImgPlace1" presStyleIdx="1" presStyleCnt="5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E84F02DB-7280-4D77-80AA-170AD6316DF7}" type="pres">
      <dgm:prSet presAssocID="{2750E96D-27F1-4A1D-B9DD-B0EF5DB29473}" presName="sibTrans" presStyleLbl="sibTrans2D1" presStyleIdx="0" presStyleCnt="0"/>
      <dgm:spPr/>
      <dgm:t>
        <a:bodyPr/>
        <a:lstStyle/>
        <a:p>
          <a:endParaRPr lang="es-EC"/>
        </a:p>
      </dgm:t>
    </dgm:pt>
    <dgm:pt modelId="{92762A3A-06E1-4214-8791-224653EDDBC8}" type="pres">
      <dgm:prSet presAssocID="{44BA3EB1-A6B7-44AB-AB80-64B5E3C35B71}" presName="compNode" presStyleCnt="0"/>
      <dgm:spPr/>
    </dgm:pt>
    <dgm:pt modelId="{536BC1F1-9F8F-4F66-8072-5C6D73D4B38D}" type="pres">
      <dgm:prSet presAssocID="{44BA3EB1-A6B7-44AB-AB80-64B5E3C35B71}" presName="bkgdShape" presStyleLbl="node1" presStyleIdx="2" presStyleCnt="5"/>
      <dgm:spPr/>
      <dgm:t>
        <a:bodyPr/>
        <a:lstStyle/>
        <a:p>
          <a:endParaRPr lang="es-EC"/>
        </a:p>
      </dgm:t>
    </dgm:pt>
    <dgm:pt modelId="{12D58E15-4F58-4F64-B044-692E40DF813B}" type="pres">
      <dgm:prSet presAssocID="{44BA3EB1-A6B7-44AB-AB80-64B5E3C35B71}" presName="nodeTx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9B504B62-AB89-460E-BF81-B8D728734581}" type="pres">
      <dgm:prSet presAssocID="{44BA3EB1-A6B7-44AB-AB80-64B5E3C35B71}" presName="invisiNode" presStyleLbl="node1" presStyleIdx="2" presStyleCnt="5"/>
      <dgm:spPr/>
    </dgm:pt>
    <dgm:pt modelId="{1B14FB50-CBA7-4AE1-9C08-17DADC5B2062}" type="pres">
      <dgm:prSet presAssocID="{44BA3EB1-A6B7-44AB-AB80-64B5E3C35B71}" presName="imagNode" presStyleLbl="fgImgPlace1" presStyleIdx="2" presStyleCnt="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00473CA1-50AB-4E42-AEF5-C91BE33951C8}" type="pres">
      <dgm:prSet presAssocID="{5B3B5914-8494-43FF-8AE2-38215C9113D0}" presName="sibTrans" presStyleLbl="sibTrans2D1" presStyleIdx="0" presStyleCnt="0"/>
      <dgm:spPr/>
      <dgm:t>
        <a:bodyPr/>
        <a:lstStyle/>
        <a:p>
          <a:endParaRPr lang="es-EC"/>
        </a:p>
      </dgm:t>
    </dgm:pt>
    <dgm:pt modelId="{C2E88531-2DDF-49A6-9401-8D457F7D3F2C}" type="pres">
      <dgm:prSet presAssocID="{A17BC5C4-C8AD-437D-B4DA-7F7088A236D3}" presName="compNode" presStyleCnt="0"/>
      <dgm:spPr/>
    </dgm:pt>
    <dgm:pt modelId="{1F9DBAD3-3623-445F-A189-A213353C9414}" type="pres">
      <dgm:prSet presAssocID="{A17BC5C4-C8AD-437D-B4DA-7F7088A236D3}" presName="bkgdShape" presStyleLbl="node1" presStyleIdx="3" presStyleCnt="5"/>
      <dgm:spPr/>
      <dgm:t>
        <a:bodyPr/>
        <a:lstStyle/>
        <a:p>
          <a:endParaRPr lang="es-EC"/>
        </a:p>
      </dgm:t>
    </dgm:pt>
    <dgm:pt modelId="{6F0160D2-164D-4E3D-8436-DC0F6835CE5C}" type="pres">
      <dgm:prSet presAssocID="{A17BC5C4-C8AD-437D-B4DA-7F7088A236D3}" presName="nodeTx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0BD629FF-69FB-4D64-A4CE-63168313C637}" type="pres">
      <dgm:prSet presAssocID="{A17BC5C4-C8AD-437D-B4DA-7F7088A236D3}" presName="invisiNode" presStyleLbl="node1" presStyleIdx="3" presStyleCnt="5"/>
      <dgm:spPr/>
    </dgm:pt>
    <dgm:pt modelId="{DF82A35F-5E0A-4AC6-812A-AF24B4663C16}" type="pres">
      <dgm:prSet presAssocID="{A17BC5C4-C8AD-437D-B4DA-7F7088A236D3}" presName="imagNode" presStyleLbl="fgImgPlace1" presStyleIdx="3" presStyleCnt="5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C6C91F0D-A221-4C89-ACA4-0D1BC6E4565F}" type="pres">
      <dgm:prSet presAssocID="{EF2D111A-E685-48E7-BD03-C0FEDDE8E7AF}" presName="sibTrans" presStyleLbl="sibTrans2D1" presStyleIdx="0" presStyleCnt="0"/>
      <dgm:spPr/>
      <dgm:t>
        <a:bodyPr/>
        <a:lstStyle/>
        <a:p>
          <a:endParaRPr lang="es-EC"/>
        </a:p>
      </dgm:t>
    </dgm:pt>
    <dgm:pt modelId="{FB4582DE-C304-4922-8FD3-F293B6075CCB}" type="pres">
      <dgm:prSet presAssocID="{AB62BC9D-4EF1-470E-9885-F5244D7309F8}" presName="compNode" presStyleCnt="0"/>
      <dgm:spPr/>
    </dgm:pt>
    <dgm:pt modelId="{AA0E7187-51A5-453B-A522-105B0ED67346}" type="pres">
      <dgm:prSet presAssocID="{AB62BC9D-4EF1-470E-9885-F5244D7309F8}" presName="bkgdShape" presStyleLbl="node1" presStyleIdx="4" presStyleCnt="5"/>
      <dgm:spPr/>
      <dgm:t>
        <a:bodyPr/>
        <a:lstStyle/>
        <a:p>
          <a:endParaRPr lang="es-EC"/>
        </a:p>
      </dgm:t>
    </dgm:pt>
    <dgm:pt modelId="{D2D60FBC-BE48-4A23-A8BD-0119E706259D}" type="pres">
      <dgm:prSet presAssocID="{AB62BC9D-4EF1-470E-9885-F5244D7309F8}" presName="nodeTx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27D6FA73-1286-462B-94BB-48C40408417B}" type="pres">
      <dgm:prSet presAssocID="{AB62BC9D-4EF1-470E-9885-F5244D7309F8}" presName="invisiNode" presStyleLbl="node1" presStyleIdx="4" presStyleCnt="5"/>
      <dgm:spPr/>
    </dgm:pt>
    <dgm:pt modelId="{DD46C917-469C-4A97-AD5B-8903BC8790BE}" type="pres">
      <dgm:prSet presAssocID="{AB62BC9D-4EF1-470E-9885-F5244D7309F8}" presName="imagNode" presStyleLbl="fgImgPlace1" presStyleIdx="4" presStyleCnt="5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t="-15000" b="-15000"/>
          </a:stretch>
        </a:blipFill>
      </dgm:spPr>
    </dgm:pt>
  </dgm:ptLst>
  <dgm:cxnLst>
    <dgm:cxn modelId="{D3780BD3-2BF5-4F54-B418-4E89CCEFC4F9}" type="presOf" srcId="{AB62BC9D-4EF1-470E-9885-F5244D7309F8}" destId="{AA0E7187-51A5-453B-A522-105B0ED67346}" srcOrd="0" destOrd="0" presId="urn:microsoft.com/office/officeart/2005/8/layout/hList7#1"/>
    <dgm:cxn modelId="{65BED7B7-C1A3-46E3-81DB-BA660E32C6CC}" srcId="{EAEB90D9-6B5D-457B-8D70-4ED1A4349203}" destId="{AB62BC9D-4EF1-470E-9885-F5244D7309F8}" srcOrd="4" destOrd="0" parTransId="{107E7EE1-0515-4829-AE7C-F06BF8C7C1FE}" sibTransId="{9BEF520D-BFF0-47BC-9D62-46A86A31CA6D}"/>
    <dgm:cxn modelId="{133A1E92-79F9-4C4A-9696-278B04A0966D}" srcId="{EAEB90D9-6B5D-457B-8D70-4ED1A4349203}" destId="{44BA3EB1-A6B7-44AB-AB80-64B5E3C35B71}" srcOrd="2" destOrd="0" parTransId="{18BF32EA-B741-4B67-A9B2-B9C5EF89DCF9}" sibTransId="{5B3B5914-8494-43FF-8AE2-38215C9113D0}"/>
    <dgm:cxn modelId="{9DF28EFA-3B04-487B-B7B2-D048A2654CD8}" type="presOf" srcId="{9104B203-56BD-4CF2-82C6-730AF7F056BC}" destId="{9C844C7B-5A27-4F2C-9AA4-F1FC45CF8358}" srcOrd="1" destOrd="0" presId="urn:microsoft.com/office/officeart/2005/8/layout/hList7#1"/>
    <dgm:cxn modelId="{FB2CE4DF-C862-4C5F-BBA7-5BA7EA8F4801}" type="presOf" srcId="{44BA3EB1-A6B7-44AB-AB80-64B5E3C35B71}" destId="{12D58E15-4F58-4F64-B044-692E40DF813B}" srcOrd="1" destOrd="0" presId="urn:microsoft.com/office/officeart/2005/8/layout/hList7#1"/>
    <dgm:cxn modelId="{084184B9-B77C-41AE-9B20-929B2CFB775E}" srcId="{EAEB90D9-6B5D-457B-8D70-4ED1A4349203}" destId="{4A3D9316-66CF-4134-9863-9B1CCF9D7ED2}" srcOrd="0" destOrd="0" parTransId="{63CEDADF-7378-4B79-B550-EE37AC2124DF}" sibTransId="{49594D04-5102-4053-9403-3C361B8B1EBF}"/>
    <dgm:cxn modelId="{A0202A48-EE43-41FF-8A64-39F67D4E1F92}" type="presOf" srcId="{4A3D9316-66CF-4134-9863-9B1CCF9D7ED2}" destId="{D9AD6CA3-9253-481B-B443-00B86A36E33A}" srcOrd="0" destOrd="0" presId="urn:microsoft.com/office/officeart/2005/8/layout/hList7#1"/>
    <dgm:cxn modelId="{CBC03287-812A-495B-9C19-E561D5B61F8D}" type="presOf" srcId="{4A3D9316-66CF-4134-9863-9B1CCF9D7ED2}" destId="{72A025D5-39FC-478E-88C9-BFA05F9411E0}" srcOrd="1" destOrd="0" presId="urn:microsoft.com/office/officeart/2005/8/layout/hList7#1"/>
    <dgm:cxn modelId="{E881E81F-F5E1-4B19-9830-E7F1CF1FD77A}" type="presOf" srcId="{EF2D111A-E685-48E7-BD03-C0FEDDE8E7AF}" destId="{C6C91F0D-A221-4C89-ACA4-0D1BC6E4565F}" srcOrd="0" destOrd="0" presId="urn:microsoft.com/office/officeart/2005/8/layout/hList7#1"/>
    <dgm:cxn modelId="{21391B0D-FCE8-4288-9289-0FCA27591F37}" type="presOf" srcId="{AB62BC9D-4EF1-470E-9885-F5244D7309F8}" destId="{D2D60FBC-BE48-4A23-A8BD-0119E706259D}" srcOrd="1" destOrd="0" presId="urn:microsoft.com/office/officeart/2005/8/layout/hList7#1"/>
    <dgm:cxn modelId="{48896B6C-3957-44B9-A1E0-5C3CC9FCF736}" srcId="{EAEB90D9-6B5D-457B-8D70-4ED1A4349203}" destId="{9104B203-56BD-4CF2-82C6-730AF7F056BC}" srcOrd="1" destOrd="0" parTransId="{BAE55D18-7065-43B9-9CAE-D128CE741714}" sibTransId="{2750E96D-27F1-4A1D-B9DD-B0EF5DB29473}"/>
    <dgm:cxn modelId="{E05D6490-07C7-4F3D-A95B-594B89118DA8}" type="presOf" srcId="{5B3B5914-8494-43FF-8AE2-38215C9113D0}" destId="{00473CA1-50AB-4E42-AEF5-C91BE33951C8}" srcOrd="0" destOrd="0" presId="urn:microsoft.com/office/officeart/2005/8/layout/hList7#1"/>
    <dgm:cxn modelId="{83A853E6-3DD5-427D-BFC1-7AB28C53D3B4}" srcId="{EAEB90D9-6B5D-457B-8D70-4ED1A4349203}" destId="{A17BC5C4-C8AD-437D-B4DA-7F7088A236D3}" srcOrd="3" destOrd="0" parTransId="{3676F82A-FBCA-40B2-BA21-87AE49304D70}" sibTransId="{EF2D111A-E685-48E7-BD03-C0FEDDE8E7AF}"/>
    <dgm:cxn modelId="{BFDBFA73-982B-4377-8BB3-12D1389E8895}" type="presOf" srcId="{44BA3EB1-A6B7-44AB-AB80-64B5E3C35B71}" destId="{536BC1F1-9F8F-4F66-8072-5C6D73D4B38D}" srcOrd="0" destOrd="0" presId="urn:microsoft.com/office/officeart/2005/8/layout/hList7#1"/>
    <dgm:cxn modelId="{A0FE7B81-D210-4585-A658-FCF8C7603BFB}" type="presOf" srcId="{49594D04-5102-4053-9403-3C361B8B1EBF}" destId="{41889DA9-CCBE-4C62-8451-44397792D31E}" srcOrd="0" destOrd="0" presId="urn:microsoft.com/office/officeart/2005/8/layout/hList7#1"/>
    <dgm:cxn modelId="{9C90DC55-8D79-48E5-99A6-5F7E8D659EB2}" type="presOf" srcId="{2750E96D-27F1-4A1D-B9DD-B0EF5DB29473}" destId="{E84F02DB-7280-4D77-80AA-170AD6316DF7}" srcOrd="0" destOrd="0" presId="urn:microsoft.com/office/officeart/2005/8/layout/hList7#1"/>
    <dgm:cxn modelId="{5DA78466-56C0-4E4D-8EB4-35A4A066FF8F}" type="presOf" srcId="{A17BC5C4-C8AD-437D-B4DA-7F7088A236D3}" destId="{1F9DBAD3-3623-445F-A189-A213353C9414}" srcOrd="0" destOrd="0" presId="urn:microsoft.com/office/officeart/2005/8/layout/hList7#1"/>
    <dgm:cxn modelId="{428DFA42-EA5F-451E-912C-9148D7F5CCBC}" type="presOf" srcId="{A17BC5C4-C8AD-437D-B4DA-7F7088A236D3}" destId="{6F0160D2-164D-4E3D-8436-DC0F6835CE5C}" srcOrd="1" destOrd="0" presId="urn:microsoft.com/office/officeart/2005/8/layout/hList7#1"/>
    <dgm:cxn modelId="{79F64DC1-C734-4120-BD93-4DC3715169B4}" type="presOf" srcId="{9104B203-56BD-4CF2-82C6-730AF7F056BC}" destId="{758E7A6C-1756-4EC9-BB8C-4CCB9216B07E}" srcOrd="0" destOrd="0" presId="urn:microsoft.com/office/officeart/2005/8/layout/hList7#1"/>
    <dgm:cxn modelId="{96773B83-805C-474B-8BB6-472E42390BEF}" type="presOf" srcId="{EAEB90D9-6B5D-457B-8D70-4ED1A4349203}" destId="{7BFECD8C-9508-4558-8CE1-74D18083F811}" srcOrd="0" destOrd="0" presId="urn:microsoft.com/office/officeart/2005/8/layout/hList7#1"/>
    <dgm:cxn modelId="{4C59C50F-03BF-4533-8144-45DA0855A365}" type="presParOf" srcId="{7BFECD8C-9508-4558-8CE1-74D18083F811}" destId="{3E7293B9-A768-414D-90C7-B6B2492495EA}" srcOrd="0" destOrd="0" presId="urn:microsoft.com/office/officeart/2005/8/layout/hList7#1"/>
    <dgm:cxn modelId="{F5972306-F9CE-40CE-A17F-828C073647AC}" type="presParOf" srcId="{7BFECD8C-9508-4558-8CE1-74D18083F811}" destId="{91CD5E8B-7922-4803-9139-3238F877F359}" srcOrd="1" destOrd="0" presId="urn:microsoft.com/office/officeart/2005/8/layout/hList7#1"/>
    <dgm:cxn modelId="{F24208DD-FD2E-44FE-9814-BADC332DB514}" type="presParOf" srcId="{91CD5E8B-7922-4803-9139-3238F877F359}" destId="{902B8EFF-8930-4281-B631-17149F5A63B2}" srcOrd="0" destOrd="0" presId="urn:microsoft.com/office/officeart/2005/8/layout/hList7#1"/>
    <dgm:cxn modelId="{F35B68DB-2FCC-47BA-919A-D1B0D8CCD891}" type="presParOf" srcId="{902B8EFF-8930-4281-B631-17149F5A63B2}" destId="{D9AD6CA3-9253-481B-B443-00B86A36E33A}" srcOrd="0" destOrd="0" presId="urn:microsoft.com/office/officeart/2005/8/layout/hList7#1"/>
    <dgm:cxn modelId="{A7D3D931-3BCF-4709-948A-C2AACC0041E0}" type="presParOf" srcId="{902B8EFF-8930-4281-B631-17149F5A63B2}" destId="{72A025D5-39FC-478E-88C9-BFA05F9411E0}" srcOrd="1" destOrd="0" presId="urn:microsoft.com/office/officeart/2005/8/layout/hList7#1"/>
    <dgm:cxn modelId="{0B617FA4-B25D-4EA1-BD7F-2CC4ACDE99D6}" type="presParOf" srcId="{902B8EFF-8930-4281-B631-17149F5A63B2}" destId="{431E4C1C-9BD3-4A43-B59F-C7ED9FEFF77B}" srcOrd="2" destOrd="0" presId="urn:microsoft.com/office/officeart/2005/8/layout/hList7#1"/>
    <dgm:cxn modelId="{960ACCC8-E01E-468D-B2E4-5B42FE9CA5E2}" type="presParOf" srcId="{902B8EFF-8930-4281-B631-17149F5A63B2}" destId="{50AD52C5-19AC-4FA5-B081-BE88EF1D6D14}" srcOrd="3" destOrd="0" presId="urn:microsoft.com/office/officeart/2005/8/layout/hList7#1"/>
    <dgm:cxn modelId="{639BF18C-342F-47EC-A1A7-B40815004383}" type="presParOf" srcId="{91CD5E8B-7922-4803-9139-3238F877F359}" destId="{41889DA9-CCBE-4C62-8451-44397792D31E}" srcOrd="1" destOrd="0" presId="urn:microsoft.com/office/officeart/2005/8/layout/hList7#1"/>
    <dgm:cxn modelId="{1E8EA7C9-B818-46D8-A237-2976E58BF084}" type="presParOf" srcId="{91CD5E8B-7922-4803-9139-3238F877F359}" destId="{73CA6441-0D1D-409B-904E-B6ED5239DFBE}" srcOrd="2" destOrd="0" presId="urn:microsoft.com/office/officeart/2005/8/layout/hList7#1"/>
    <dgm:cxn modelId="{A36333AD-DD36-4133-9022-76C1BC49E33A}" type="presParOf" srcId="{73CA6441-0D1D-409B-904E-B6ED5239DFBE}" destId="{758E7A6C-1756-4EC9-BB8C-4CCB9216B07E}" srcOrd="0" destOrd="0" presId="urn:microsoft.com/office/officeart/2005/8/layout/hList7#1"/>
    <dgm:cxn modelId="{4DE8BE95-20B0-4F02-9675-5B5600810EB5}" type="presParOf" srcId="{73CA6441-0D1D-409B-904E-B6ED5239DFBE}" destId="{9C844C7B-5A27-4F2C-9AA4-F1FC45CF8358}" srcOrd="1" destOrd="0" presId="urn:microsoft.com/office/officeart/2005/8/layout/hList7#1"/>
    <dgm:cxn modelId="{C56019B7-87F8-4A76-8A90-9FB82DDEA088}" type="presParOf" srcId="{73CA6441-0D1D-409B-904E-B6ED5239DFBE}" destId="{69BED829-167D-4014-8866-EC9B65BF4073}" srcOrd="2" destOrd="0" presId="urn:microsoft.com/office/officeart/2005/8/layout/hList7#1"/>
    <dgm:cxn modelId="{83272A7E-BB7E-433F-B081-2A5F2EE0B87B}" type="presParOf" srcId="{73CA6441-0D1D-409B-904E-B6ED5239DFBE}" destId="{1C65D727-7489-4731-9AF6-C2F598E35C16}" srcOrd="3" destOrd="0" presId="urn:microsoft.com/office/officeart/2005/8/layout/hList7#1"/>
    <dgm:cxn modelId="{1EBA6068-65EC-4CC2-B06F-0641B016257D}" type="presParOf" srcId="{91CD5E8B-7922-4803-9139-3238F877F359}" destId="{E84F02DB-7280-4D77-80AA-170AD6316DF7}" srcOrd="3" destOrd="0" presId="urn:microsoft.com/office/officeart/2005/8/layout/hList7#1"/>
    <dgm:cxn modelId="{D8D21FDB-6371-46CC-8206-E870F5162202}" type="presParOf" srcId="{91CD5E8B-7922-4803-9139-3238F877F359}" destId="{92762A3A-06E1-4214-8791-224653EDDBC8}" srcOrd="4" destOrd="0" presId="urn:microsoft.com/office/officeart/2005/8/layout/hList7#1"/>
    <dgm:cxn modelId="{3018065E-FDB9-4159-A7BD-2AE6771D0CE1}" type="presParOf" srcId="{92762A3A-06E1-4214-8791-224653EDDBC8}" destId="{536BC1F1-9F8F-4F66-8072-5C6D73D4B38D}" srcOrd="0" destOrd="0" presId="urn:microsoft.com/office/officeart/2005/8/layout/hList7#1"/>
    <dgm:cxn modelId="{F576DA7E-E252-421E-8E19-F2A3F2DB22AC}" type="presParOf" srcId="{92762A3A-06E1-4214-8791-224653EDDBC8}" destId="{12D58E15-4F58-4F64-B044-692E40DF813B}" srcOrd="1" destOrd="0" presId="urn:microsoft.com/office/officeart/2005/8/layout/hList7#1"/>
    <dgm:cxn modelId="{D18E603D-3227-4DBD-86BD-EFEF5E1405FA}" type="presParOf" srcId="{92762A3A-06E1-4214-8791-224653EDDBC8}" destId="{9B504B62-AB89-460E-BF81-B8D728734581}" srcOrd="2" destOrd="0" presId="urn:microsoft.com/office/officeart/2005/8/layout/hList7#1"/>
    <dgm:cxn modelId="{027C57D3-DFD4-4543-A595-185075C1BCD6}" type="presParOf" srcId="{92762A3A-06E1-4214-8791-224653EDDBC8}" destId="{1B14FB50-CBA7-4AE1-9C08-17DADC5B2062}" srcOrd="3" destOrd="0" presId="urn:microsoft.com/office/officeart/2005/8/layout/hList7#1"/>
    <dgm:cxn modelId="{72B356B7-0EE6-465C-AC58-8C0E37D74B37}" type="presParOf" srcId="{91CD5E8B-7922-4803-9139-3238F877F359}" destId="{00473CA1-50AB-4E42-AEF5-C91BE33951C8}" srcOrd="5" destOrd="0" presId="urn:microsoft.com/office/officeart/2005/8/layout/hList7#1"/>
    <dgm:cxn modelId="{CDEFBEF4-AC0F-49E0-83A8-D30B99E690C9}" type="presParOf" srcId="{91CD5E8B-7922-4803-9139-3238F877F359}" destId="{C2E88531-2DDF-49A6-9401-8D457F7D3F2C}" srcOrd="6" destOrd="0" presId="urn:microsoft.com/office/officeart/2005/8/layout/hList7#1"/>
    <dgm:cxn modelId="{2F81EAD3-09C2-411A-B9F9-82D25223BC7F}" type="presParOf" srcId="{C2E88531-2DDF-49A6-9401-8D457F7D3F2C}" destId="{1F9DBAD3-3623-445F-A189-A213353C9414}" srcOrd="0" destOrd="0" presId="urn:microsoft.com/office/officeart/2005/8/layout/hList7#1"/>
    <dgm:cxn modelId="{DFD0EE32-B508-4060-8A54-B8D185C663AF}" type="presParOf" srcId="{C2E88531-2DDF-49A6-9401-8D457F7D3F2C}" destId="{6F0160D2-164D-4E3D-8436-DC0F6835CE5C}" srcOrd="1" destOrd="0" presId="urn:microsoft.com/office/officeart/2005/8/layout/hList7#1"/>
    <dgm:cxn modelId="{DEDF2806-580A-4179-8A8E-8397B386D0D6}" type="presParOf" srcId="{C2E88531-2DDF-49A6-9401-8D457F7D3F2C}" destId="{0BD629FF-69FB-4D64-A4CE-63168313C637}" srcOrd="2" destOrd="0" presId="urn:microsoft.com/office/officeart/2005/8/layout/hList7#1"/>
    <dgm:cxn modelId="{E42BF5A4-2A6B-4844-B29A-D3BFAFDEFD5D}" type="presParOf" srcId="{C2E88531-2DDF-49A6-9401-8D457F7D3F2C}" destId="{DF82A35F-5E0A-4AC6-812A-AF24B4663C16}" srcOrd="3" destOrd="0" presId="urn:microsoft.com/office/officeart/2005/8/layout/hList7#1"/>
    <dgm:cxn modelId="{A13B4CC0-56BF-4094-A414-AB083B2F275E}" type="presParOf" srcId="{91CD5E8B-7922-4803-9139-3238F877F359}" destId="{C6C91F0D-A221-4C89-ACA4-0D1BC6E4565F}" srcOrd="7" destOrd="0" presId="urn:microsoft.com/office/officeart/2005/8/layout/hList7#1"/>
    <dgm:cxn modelId="{C9EBA7B2-AC3C-43E3-8247-BCE52DD95E54}" type="presParOf" srcId="{91CD5E8B-7922-4803-9139-3238F877F359}" destId="{FB4582DE-C304-4922-8FD3-F293B6075CCB}" srcOrd="8" destOrd="0" presId="urn:microsoft.com/office/officeart/2005/8/layout/hList7#1"/>
    <dgm:cxn modelId="{EE1F8579-E62E-4379-A9CF-A6392C8DD20F}" type="presParOf" srcId="{FB4582DE-C304-4922-8FD3-F293B6075CCB}" destId="{AA0E7187-51A5-453B-A522-105B0ED67346}" srcOrd="0" destOrd="0" presId="urn:microsoft.com/office/officeart/2005/8/layout/hList7#1"/>
    <dgm:cxn modelId="{51CAF6CF-E339-4F8B-ABB7-C3607F912BAF}" type="presParOf" srcId="{FB4582DE-C304-4922-8FD3-F293B6075CCB}" destId="{D2D60FBC-BE48-4A23-A8BD-0119E706259D}" srcOrd="1" destOrd="0" presId="urn:microsoft.com/office/officeart/2005/8/layout/hList7#1"/>
    <dgm:cxn modelId="{DA042FBA-F921-4B23-B0FF-91985A9EC79B}" type="presParOf" srcId="{FB4582DE-C304-4922-8FD3-F293B6075CCB}" destId="{27D6FA73-1286-462B-94BB-48C40408417B}" srcOrd="2" destOrd="0" presId="urn:microsoft.com/office/officeart/2005/8/layout/hList7#1"/>
    <dgm:cxn modelId="{F6D491F9-2A8B-43B6-883E-5F9CB2D3463C}" type="presParOf" srcId="{FB4582DE-C304-4922-8FD3-F293B6075CCB}" destId="{DD46C917-469C-4A97-AD5B-8903BC8790BE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41E0F9E-2446-4CA1-B7D8-C3CF9134397B}" type="doc">
      <dgm:prSet loTypeId="urn:microsoft.com/office/officeart/2005/8/layout/arrow6" loCatId="process" qsTypeId="urn:microsoft.com/office/officeart/2005/8/quickstyle/simple2" qsCatId="simple" csTypeId="urn:microsoft.com/office/officeart/2005/8/colors/accent3_4" csCatId="accent3" phldr="1"/>
      <dgm:spPr/>
      <dgm:t>
        <a:bodyPr/>
        <a:lstStyle/>
        <a:p>
          <a:endParaRPr lang="es-EC"/>
        </a:p>
      </dgm:t>
    </dgm:pt>
    <dgm:pt modelId="{99A7A6D5-EACB-4BA7-8E20-90BBCC9D4711}">
      <dgm:prSet phldrT="[Texto]" custT="1"/>
      <dgm:spPr/>
      <dgm:t>
        <a:bodyPr/>
        <a:lstStyle/>
        <a:p>
          <a:r>
            <a:rPr lang="es-EC" sz="1600" b="1" dirty="0" smtClean="0"/>
            <a:t>NATIONAL BIODIVERSITY </a:t>
          </a:r>
          <a:r>
            <a:rPr lang="es-EC" sz="1800" b="1" dirty="0" smtClean="0"/>
            <a:t>STRATEGY</a:t>
          </a:r>
          <a:r>
            <a:rPr lang="es-EC" sz="1600" b="1" dirty="0" smtClean="0"/>
            <a:t> 2014 - 2030</a:t>
          </a:r>
          <a:endParaRPr lang="es-EC" sz="1600" b="1" dirty="0"/>
        </a:p>
      </dgm:t>
    </dgm:pt>
    <dgm:pt modelId="{5BFE7F55-317D-4336-B624-614E955F1F05}" type="parTrans" cxnId="{0CC4BCC6-C20A-4272-98B1-4BC0E7C021EB}">
      <dgm:prSet/>
      <dgm:spPr/>
      <dgm:t>
        <a:bodyPr/>
        <a:lstStyle/>
        <a:p>
          <a:endParaRPr lang="es-EC" sz="1600" b="1"/>
        </a:p>
      </dgm:t>
    </dgm:pt>
    <dgm:pt modelId="{2DA3A4DF-AEFA-4F4B-B30B-13B5A1BDC8EB}" type="sibTrans" cxnId="{0CC4BCC6-C20A-4272-98B1-4BC0E7C021EB}">
      <dgm:prSet/>
      <dgm:spPr/>
      <dgm:t>
        <a:bodyPr/>
        <a:lstStyle/>
        <a:p>
          <a:endParaRPr lang="es-EC" sz="1600" b="1"/>
        </a:p>
      </dgm:t>
    </dgm:pt>
    <dgm:pt modelId="{E1B89CCB-2F2D-4326-8DD6-106B2742D128}">
      <dgm:prSet phldrT="[Texto]" custT="1"/>
      <dgm:spPr/>
      <dgm:t>
        <a:bodyPr/>
        <a:lstStyle/>
        <a:p>
          <a:r>
            <a:rPr lang="es-EC" sz="1800" b="1" dirty="0" smtClean="0"/>
            <a:t>NATIONAL PLAN 2014 - 2020</a:t>
          </a:r>
          <a:endParaRPr lang="es-EC" sz="1800" b="1" dirty="0"/>
        </a:p>
      </dgm:t>
    </dgm:pt>
    <dgm:pt modelId="{A662F270-16D0-4B24-A3FB-7A680EB659F8}" type="parTrans" cxnId="{C353D9C8-7FEC-4144-A36A-1308B917E817}">
      <dgm:prSet/>
      <dgm:spPr/>
      <dgm:t>
        <a:bodyPr/>
        <a:lstStyle/>
        <a:p>
          <a:endParaRPr lang="es-EC" sz="1600" b="1"/>
        </a:p>
      </dgm:t>
    </dgm:pt>
    <dgm:pt modelId="{EEB36205-3B8B-4E4F-9D36-0D11AD3F1A60}" type="sibTrans" cxnId="{C353D9C8-7FEC-4144-A36A-1308B917E817}">
      <dgm:prSet/>
      <dgm:spPr/>
      <dgm:t>
        <a:bodyPr/>
        <a:lstStyle/>
        <a:p>
          <a:endParaRPr lang="es-EC" sz="1600" b="1"/>
        </a:p>
      </dgm:t>
    </dgm:pt>
    <dgm:pt modelId="{D96D3576-1BAA-4188-8477-882750A926D3}" type="pres">
      <dgm:prSet presAssocID="{341E0F9E-2446-4CA1-B7D8-C3CF9134397B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s-EC"/>
        </a:p>
      </dgm:t>
    </dgm:pt>
    <dgm:pt modelId="{9C0332C5-850E-4FFE-A133-4582C1203E99}" type="pres">
      <dgm:prSet presAssocID="{341E0F9E-2446-4CA1-B7D8-C3CF9134397B}" presName="ribbon" presStyleLbl="node1" presStyleIdx="0" presStyleCnt="1" custScaleX="420687" custLinFactNeighborY="8053"/>
      <dgm:spPr/>
      <dgm:t>
        <a:bodyPr/>
        <a:lstStyle/>
        <a:p>
          <a:endParaRPr lang="es-EC"/>
        </a:p>
      </dgm:t>
    </dgm:pt>
    <dgm:pt modelId="{82B24A1B-F298-4F88-86E0-6430632FCBE5}" type="pres">
      <dgm:prSet presAssocID="{341E0F9E-2446-4CA1-B7D8-C3CF9134397B}" presName="leftArrowText" presStyleLbl="node1" presStyleIdx="0" presStyleCnt="1" custScaleX="511152" custLinFactX="-100000" custLinFactNeighborX="-146824" custLinFactNeighborY="-562">
        <dgm:presLayoutVars>
          <dgm:chMax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EA4A4D7-E05D-4AC7-9384-B56C14C2E680}" type="pres">
      <dgm:prSet presAssocID="{341E0F9E-2446-4CA1-B7D8-C3CF9134397B}" presName="rightArrowText" presStyleLbl="node1" presStyleIdx="0" presStyleCnt="1" custScaleX="407713" custLinFactX="76021" custLinFactNeighborX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C353D9C8-7FEC-4144-A36A-1308B917E817}" srcId="{341E0F9E-2446-4CA1-B7D8-C3CF9134397B}" destId="{E1B89CCB-2F2D-4326-8DD6-106B2742D128}" srcOrd="1" destOrd="0" parTransId="{A662F270-16D0-4B24-A3FB-7A680EB659F8}" sibTransId="{EEB36205-3B8B-4E4F-9D36-0D11AD3F1A60}"/>
    <dgm:cxn modelId="{8865FBF1-56C4-4D0B-BECA-FDDB9205C7B3}" type="presOf" srcId="{E1B89CCB-2F2D-4326-8DD6-106B2742D128}" destId="{8EA4A4D7-E05D-4AC7-9384-B56C14C2E680}" srcOrd="0" destOrd="0" presId="urn:microsoft.com/office/officeart/2005/8/layout/arrow6"/>
    <dgm:cxn modelId="{0CC4BCC6-C20A-4272-98B1-4BC0E7C021EB}" srcId="{341E0F9E-2446-4CA1-B7D8-C3CF9134397B}" destId="{99A7A6D5-EACB-4BA7-8E20-90BBCC9D4711}" srcOrd="0" destOrd="0" parTransId="{5BFE7F55-317D-4336-B624-614E955F1F05}" sibTransId="{2DA3A4DF-AEFA-4F4B-B30B-13B5A1BDC8EB}"/>
    <dgm:cxn modelId="{E7584371-C924-4447-A7D5-723496691A67}" type="presOf" srcId="{99A7A6D5-EACB-4BA7-8E20-90BBCC9D4711}" destId="{82B24A1B-F298-4F88-86E0-6430632FCBE5}" srcOrd="0" destOrd="0" presId="urn:microsoft.com/office/officeart/2005/8/layout/arrow6"/>
    <dgm:cxn modelId="{E052FD7D-14B6-4DDF-9E2E-0090C33E2ED2}" type="presOf" srcId="{341E0F9E-2446-4CA1-B7D8-C3CF9134397B}" destId="{D96D3576-1BAA-4188-8477-882750A926D3}" srcOrd="0" destOrd="0" presId="urn:microsoft.com/office/officeart/2005/8/layout/arrow6"/>
    <dgm:cxn modelId="{E93F6528-E508-40EA-9A9C-32C8095240F0}" type="presParOf" srcId="{D96D3576-1BAA-4188-8477-882750A926D3}" destId="{9C0332C5-850E-4FFE-A133-4582C1203E99}" srcOrd="0" destOrd="0" presId="urn:microsoft.com/office/officeart/2005/8/layout/arrow6"/>
    <dgm:cxn modelId="{8CD3E6C7-D695-4793-98E8-56D71ED8AF22}" type="presParOf" srcId="{D96D3576-1BAA-4188-8477-882750A926D3}" destId="{82B24A1B-F298-4F88-86E0-6430632FCBE5}" srcOrd="1" destOrd="0" presId="urn:microsoft.com/office/officeart/2005/8/layout/arrow6"/>
    <dgm:cxn modelId="{F64A56F4-FBB8-4896-868D-AE828AC1ABAA}" type="presParOf" srcId="{D96D3576-1BAA-4188-8477-882750A926D3}" destId="{8EA4A4D7-E05D-4AC7-9384-B56C14C2E680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15E513-BFC5-4A22-822E-C117EBE0E7BF}" type="doc">
      <dgm:prSet loTypeId="urn:microsoft.com/office/officeart/2005/8/layout/hProcess11" loCatId="process" qsTypeId="urn:microsoft.com/office/officeart/2005/8/quickstyle/3d2" qsCatId="3D" csTypeId="urn:microsoft.com/office/officeart/2005/8/colors/accent6_2" csCatId="accent6" phldr="1"/>
      <dgm:spPr/>
    </dgm:pt>
    <dgm:pt modelId="{F9ED6578-A700-4CF4-AEF4-C1836D2E06A0}">
      <dgm:prSet phldrT="[Texto]"/>
      <dgm:spPr/>
      <dgm:t>
        <a:bodyPr/>
        <a:lstStyle/>
        <a:p>
          <a:r>
            <a:rPr lang="es-EC" b="1" dirty="0" smtClean="0"/>
            <a:t>2007</a:t>
          </a:r>
          <a:endParaRPr lang="es-EC" b="1" dirty="0"/>
        </a:p>
      </dgm:t>
    </dgm:pt>
    <dgm:pt modelId="{657D67FB-DA4A-4C6F-86FD-F097AC6C2A49}" type="parTrans" cxnId="{99870544-1981-44F6-BAAD-3D2164B523B2}">
      <dgm:prSet/>
      <dgm:spPr/>
      <dgm:t>
        <a:bodyPr/>
        <a:lstStyle/>
        <a:p>
          <a:endParaRPr lang="es-EC" b="1"/>
        </a:p>
      </dgm:t>
    </dgm:pt>
    <dgm:pt modelId="{2099C153-A570-46A1-B77C-AEFD32A8B81C}" type="sibTrans" cxnId="{99870544-1981-44F6-BAAD-3D2164B523B2}">
      <dgm:prSet/>
      <dgm:spPr/>
      <dgm:t>
        <a:bodyPr/>
        <a:lstStyle/>
        <a:p>
          <a:endParaRPr lang="es-EC" b="1"/>
        </a:p>
      </dgm:t>
    </dgm:pt>
    <dgm:pt modelId="{AE3B37FB-0677-4D50-ABB2-557A9CE518FC}">
      <dgm:prSet phldrT="[Texto]"/>
      <dgm:spPr/>
      <dgm:t>
        <a:bodyPr/>
        <a:lstStyle/>
        <a:p>
          <a:r>
            <a:rPr lang="es-EC" b="1" dirty="0" smtClean="0"/>
            <a:t>2008</a:t>
          </a:r>
          <a:endParaRPr lang="es-EC" b="1" dirty="0"/>
        </a:p>
      </dgm:t>
    </dgm:pt>
    <dgm:pt modelId="{F347BB7E-04CD-4636-B925-29E0AD635633}" type="parTrans" cxnId="{50BFF726-50C2-4F91-AD6A-5133A6412E80}">
      <dgm:prSet/>
      <dgm:spPr/>
      <dgm:t>
        <a:bodyPr/>
        <a:lstStyle/>
        <a:p>
          <a:endParaRPr lang="es-EC" b="1"/>
        </a:p>
      </dgm:t>
    </dgm:pt>
    <dgm:pt modelId="{2E2CA965-F03A-4E79-9597-3643A6F9276E}" type="sibTrans" cxnId="{50BFF726-50C2-4F91-AD6A-5133A6412E80}">
      <dgm:prSet/>
      <dgm:spPr/>
      <dgm:t>
        <a:bodyPr/>
        <a:lstStyle/>
        <a:p>
          <a:endParaRPr lang="es-EC" b="1"/>
        </a:p>
      </dgm:t>
    </dgm:pt>
    <dgm:pt modelId="{6624B66A-538B-4710-9A70-64EDC1A890F1}">
      <dgm:prSet phldrT="[Texto]"/>
      <dgm:spPr/>
      <dgm:t>
        <a:bodyPr/>
        <a:lstStyle/>
        <a:p>
          <a:r>
            <a:rPr lang="es-EC" b="1" dirty="0" smtClean="0"/>
            <a:t>2009</a:t>
          </a:r>
          <a:endParaRPr lang="es-EC" b="1" dirty="0"/>
        </a:p>
      </dgm:t>
    </dgm:pt>
    <dgm:pt modelId="{236C89E9-414B-40EF-9BEB-6E3694CC25D5}" type="parTrans" cxnId="{2E17FDB7-CB59-49EC-9089-DE37D815E4F4}">
      <dgm:prSet/>
      <dgm:spPr/>
      <dgm:t>
        <a:bodyPr/>
        <a:lstStyle/>
        <a:p>
          <a:endParaRPr lang="es-EC" b="1"/>
        </a:p>
      </dgm:t>
    </dgm:pt>
    <dgm:pt modelId="{DF875EF1-3791-4691-B22B-0775BF988202}" type="sibTrans" cxnId="{2E17FDB7-CB59-49EC-9089-DE37D815E4F4}">
      <dgm:prSet/>
      <dgm:spPr/>
      <dgm:t>
        <a:bodyPr/>
        <a:lstStyle/>
        <a:p>
          <a:endParaRPr lang="es-EC" b="1"/>
        </a:p>
      </dgm:t>
    </dgm:pt>
    <dgm:pt modelId="{76D4AD5E-6988-4692-9292-71DA48BEBD37}">
      <dgm:prSet/>
      <dgm:spPr/>
      <dgm:t>
        <a:bodyPr/>
        <a:lstStyle/>
        <a:p>
          <a:r>
            <a:rPr lang="es-EC" b="1" dirty="0" smtClean="0"/>
            <a:t>2013…</a:t>
          </a:r>
          <a:endParaRPr lang="es-EC" b="1" dirty="0"/>
        </a:p>
      </dgm:t>
    </dgm:pt>
    <dgm:pt modelId="{F905C7BB-A8BC-4C40-8B12-D87B632DDB3B}" type="parTrans" cxnId="{14D3D417-DBF1-419D-B575-80EC5C593B0F}">
      <dgm:prSet/>
      <dgm:spPr/>
      <dgm:t>
        <a:bodyPr/>
        <a:lstStyle/>
        <a:p>
          <a:endParaRPr lang="es-EC" b="1"/>
        </a:p>
      </dgm:t>
    </dgm:pt>
    <dgm:pt modelId="{461D995B-33BE-4D6E-AAF1-EC534C21A2E4}" type="sibTrans" cxnId="{14D3D417-DBF1-419D-B575-80EC5C593B0F}">
      <dgm:prSet/>
      <dgm:spPr/>
      <dgm:t>
        <a:bodyPr/>
        <a:lstStyle/>
        <a:p>
          <a:endParaRPr lang="es-EC" b="1"/>
        </a:p>
      </dgm:t>
    </dgm:pt>
    <dgm:pt modelId="{3C94E61F-2C0B-4968-8C67-6C9EBEB814F0}" type="pres">
      <dgm:prSet presAssocID="{CC15E513-BFC5-4A22-822E-C117EBE0E7BF}" presName="Name0" presStyleCnt="0">
        <dgm:presLayoutVars>
          <dgm:dir/>
          <dgm:resizeHandles val="exact"/>
        </dgm:presLayoutVars>
      </dgm:prSet>
      <dgm:spPr/>
    </dgm:pt>
    <dgm:pt modelId="{614DBB50-2ACD-460D-A3E4-E9DE4C58472E}" type="pres">
      <dgm:prSet presAssocID="{CC15E513-BFC5-4A22-822E-C117EBE0E7BF}" presName="arrow" presStyleLbl="bgShp" presStyleIdx="0" presStyleCnt="1"/>
      <dgm:spPr>
        <a:gradFill flip="none" rotWithShape="1">
          <a:gsLst>
            <a:gs pos="0">
              <a:srgbClr val="66FF66"/>
            </a:gs>
            <a:gs pos="0">
              <a:schemeClr val="accent6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rgbClr val="00CC00"/>
            </a:gs>
          </a:gsLst>
          <a:lin ang="0" scaled="1"/>
          <a:tileRect/>
        </a:gradFill>
        <a:effectLst>
          <a:outerShdw blurRad="50800" dist="38100" algn="l" rotWithShape="0">
            <a:prstClr val="black">
              <a:alpha val="4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/>
          <a:contourClr>
            <a:schemeClr val="bg1"/>
          </a:contourClr>
        </a:sp3d>
      </dgm:spPr>
    </dgm:pt>
    <dgm:pt modelId="{D5A7A0E8-77A0-4190-A28D-EF5AB3EC62BD}" type="pres">
      <dgm:prSet presAssocID="{CC15E513-BFC5-4A22-822E-C117EBE0E7BF}" presName="points" presStyleCnt="0"/>
      <dgm:spPr/>
    </dgm:pt>
    <dgm:pt modelId="{E3198214-029F-425E-B7A0-081B7617687B}" type="pres">
      <dgm:prSet presAssocID="{F9ED6578-A700-4CF4-AEF4-C1836D2E06A0}" presName="compositeA" presStyleCnt="0"/>
      <dgm:spPr/>
    </dgm:pt>
    <dgm:pt modelId="{EDB68A8B-C5B3-4248-B557-3F0510F64330}" type="pres">
      <dgm:prSet presAssocID="{F9ED6578-A700-4CF4-AEF4-C1836D2E06A0}" presName="textA" presStyleLbl="revTx" presStyleIdx="0" presStyleCnt="4" custScaleX="82072" custLinFactNeighborX="-498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F4D01933-CC65-4B01-93F6-11E409D84BBB}" type="pres">
      <dgm:prSet presAssocID="{F9ED6578-A700-4CF4-AEF4-C1836D2E06A0}" presName="circleA" presStyleLbl="node1" presStyleIdx="0" presStyleCnt="4" custLinFactX="-23960" custLinFactNeighborX="-100000"/>
      <dgm:spPr>
        <a:solidFill>
          <a:srgbClr val="FF9900"/>
        </a:solidFill>
      </dgm:spPr>
    </dgm:pt>
    <dgm:pt modelId="{D86BAAF0-2152-46B6-B449-8FB14CCA08A8}" type="pres">
      <dgm:prSet presAssocID="{F9ED6578-A700-4CF4-AEF4-C1836D2E06A0}" presName="spaceA" presStyleCnt="0"/>
      <dgm:spPr/>
    </dgm:pt>
    <dgm:pt modelId="{BC0B34B5-C650-4C5D-99FE-E04A1978E9FA}" type="pres">
      <dgm:prSet presAssocID="{2099C153-A570-46A1-B77C-AEFD32A8B81C}" presName="space" presStyleCnt="0"/>
      <dgm:spPr/>
    </dgm:pt>
    <dgm:pt modelId="{A73BBA47-90FA-4D48-8FFD-E5084139E939}" type="pres">
      <dgm:prSet presAssocID="{AE3B37FB-0677-4D50-ABB2-557A9CE518FC}" presName="compositeB" presStyleCnt="0"/>
      <dgm:spPr/>
    </dgm:pt>
    <dgm:pt modelId="{345DE3EF-3E61-4B6F-B295-13F661E1F6A0}" type="pres">
      <dgm:prSet presAssocID="{AE3B37FB-0677-4D50-ABB2-557A9CE518FC}" presName="textB" presStyleLbl="revTx" presStyleIdx="1" presStyleCnt="4" custLinFactNeighborX="-22089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814B473-3A63-4994-B070-23DE30E99673}" type="pres">
      <dgm:prSet presAssocID="{AE3B37FB-0677-4D50-ABB2-557A9CE518FC}" presName="circleB" presStyleLbl="node1" presStyleIdx="1" presStyleCnt="4" custLinFactX="-105768" custLinFactNeighborX="-200000"/>
      <dgm:spPr>
        <a:solidFill>
          <a:srgbClr val="FF9900"/>
        </a:solidFill>
      </dgm:spPr>
    </dgm:pt>
    <dgm:pt modelId="{74EA3F7D-12D7-406B-ABD1-78FD87A35AF4}" type="pres">
      <dgm:prSet presAssocID="{AE3B37FB-0677-4D50-ABB2-557A9CE518FC}" presName="spaceB" presStyleCnt="0"/>
      <dgm:spPr/>
    </dgm:pt>
    <dgm:pt modelId="{CD9ED526-77A5-4B96-B82A-1E75998DCAE4}" type="pres">
      <dgm:prSet presAssocID="{2E2CA965-F03A-4E79-9597-3643A6F9276E}" presName="space" presStyleCnt="0"/>
      <dgm:spPr/>
    </dgm:pt>
    <dgm:pt modelId="{AAA13F0B-A665-4360-852E-C05274C1519D}" type="pres">
      <dgm:prSet presAssocID="{6624B66A-538B-4710-9A70-64EDC1A890F1}" presName="compositeA" presStyleCnt="0"/>
      <dgm:spPr/>
    </dgm:pt>
    <dgm:pt modelId="{88BD950F-53ED-4214-831B-0DAEDB395C91}" type="pres">
      <dgm:prSet presAssocID="{6624B66A-538B-4710-9A70-64EDC1A890F1}" presName="textA" presStyleLbl="revTx" presStyleIdx="2" presStyleCnt="4" custLinFactNeighborX="-37611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50937E70-C5BD-46B7-BF61-A68E1B4EBC7A}" type="pres">
      <dgm:prSet presAssocID="{6624B66A-538B-4710-9A70-64EDC1A890F1}" presName="circleA" presStyleLbl="node1" presStyleIdx="2" presStyleCnt="4" custLinFactX="-220632" custLinFactNeighborX="-300000"/>
      <dgm:spPr>
        <a:solidFill>
          <a:srgbClr val="FF9900"/>
        </a:solidFill>
      </dgm:spPr>
    </dgm:pt>
    <dgm:pt modelId="{5DA0C666-7799-467B-80F3-E9CF1176BC57}" type="pres">
      <dgm:prSet presAssocID="{6624B66A-538B-4710-9A70-64EDC1A890F1}" presName="spaceA" presStyleCnt="0"/>
      <dgm:spPr/>
    </dgm:pt>
    <dgm:pt modelId="{B26F360A-6DE4-4D31-B0B4-DF921A4B4134}" type="pres">
      <dgm:prSet presAssocID="{DF875EF1-3791-4691-B22B-0775BF988202}" presName="space" presStyleCnt="0"/>
      <dgm:spPr/>
    </dgm:pt>
    <dgm:pt modelId="{A3B8E0D0-5753-4A4B-97D2-51116F898D95}" type="pres">
      <dgm:prSet presAssocID="{76D4AD5E-6988-4692-9292-71DA48BEBD37}" presName="compositeB" presStyleCnt="0"/>
      <dgm:spPr/>
    </dgm:pt>
    <dgm:pt modelId="{85571779-7FF0-411B-BBD1-132C8E07ED23}" type="pres">
      <dgm:prSet presAssocID="{76D4AD5E-6988-4692-9292-71DA48BEBD37}" presName="textB" presStyleLbl="revTx" presStyleIdx="3" presStyleCnt="4" custLinFactNeighborX="-33010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469D2C6C-F86C-4729-B6B2-8E601CA7F2C4}" type="pres">
      <dgm:prSet presAssocID="{76D4AD5E-6988-4692-9292-71DA48BEBD37}" presName="circleB" presStyleLbl="node1" presStyleIdx="3" presStyleCnt="4" custLinFactX="-253702" custLinFactNeighborX="-300000"/>
      <dgm:spPr>
        <a:solidFill>
          <a:srgbClr val="FF9900"/>
        </a:solidFill>
      </dgm:spPr>
    </dgm:pt>
    <dgm:pt modelId="{1EF82359-366E-42EC-B3D3-6D704BEDD1B5}" type="pres">
      <dgm:prSet presAssocID="{76D4AD5E-6988-4692-9292-71DA48BEBD37}" presName="spaceB" presStyleCnt="0"/>
      <dgm:spPr/>
    </dgm:pt>
  </dgm:ptLst>
  <dgm:cxnLst>
    <dgm:cxn modelId="{99870544-1981-44F6-BAAD-3D2164B523B2}" srcId="{CC15E513-BFC5-4A22-822E-C117EBE0E7BF}" destId="{F9ED6578-A700-4CF4-AEF4-C1836D2E06A0}" srcOrd="0" destOrd="0" parTransId="{657D67FB-DA4A-4C6F-86FD-F097AC6C2A49}" sibTransId="{2099C153-A570-46A1-B77C-AEFD32A8B81C}"/>
    <dgm:cxn modelId="{7D40F581-190A-4600-A8F2-437F97D72826}" type="presOf" srcId="{F9ED6578-A700-4CF4-AEF4-C1836D2E06A0}" destId="{EDB68A8B-C5B3-4248-B557-3F0510F64330}" srcOrd="0" destOrd="0" presId="urn:microsoft.com/office/officeart/2005/8/layout/hProcess11"/>
    <dgm:cxn modelId="{50BFF726-50C2-4F91-AD6A-5133A6412E80}" srcId="{CC15E513-BFC5-4A22-822E-C117EBE0E7BF}" destId="{AE3B37FB-0677-4D50-ABB2-557A9CE518FC}" srcOrd="1" destOrd="0" parTransId="{F347BB7E-04CD-4636-B925-29E0AD635633}" sibTransId="{2E2CA965-F03A-4E79-9597-3643A6F9276E}"/>
    <dgm:cxn modelId="{5C4558BA-7769-4FBE-9418-A26B67308759}" type="presOf" srcId="{6624B66A-538B-4710-9A70-64EDC1A890F1}" destId="{88BD950F-53ED-4214-831B-0DAEDB395C91}" srcOrd="0" destOrd="0" presId="urn:microsoft.com/office/officeart/2005/8/layout/hProcess11"/>
    <dgm:cxn modelId="{14D3D417-DBF1-419D-B575-80EC5C593B0F}" srcId="{CC15E513-BFC5-4A22-822E-C117EBE0E7BF}" destId="{76D4AD5E-6988-4692-9292-71DA48BEBD37}" srcOrd="3" destOrd="0" parTransId="{F905C7BB-A8BC-4C40-8B12-D87B632DDB3B}" sibTransId="{461D995B-33BE-4D6E-AAF1-EC534C21A2E4}"/>
    <dgm:cxn modelId="{91AFB749-0A4F-40E2-A76B-799400A8C1A1}" type="presOf" srcId="{CC15E513-BFC5-4A22-822E-C117EBE0E7BF}" destId="{3C94E61F-2C0B-4968-8C67-6C9EBEB814F0}" srcOrd="0" destOrd="0" presId="urn:microsoft.com/office/officeart/2005/8/layout/hProcess11"/>
    <dgm:cxn modelId="{5D3EB66E-58A0-4859-BAD1-959C7EF572EB}" type="presOf" srcId="{AE3B37FB-0677-4D50-ABB2-557A9CE518FC}" destId="{345DE3EF-3E61-4B6F-B295-13F661E1F6A0}" srcOrd="0" destOrd="0" presId="urn:microsoft.com/office/officeart/2005/8/layout/hProcess11"/>
    <dgm:cxn modelId="{2E17FDB7-CB59-49EC-9089-DE37D815E4F4}" srcId="{CC15E513-BFC5-4A22-822E-C117EBE0E7BF}" destId="{6624B66A-538B-4710-9A70-64EDC1A890F1}" srcOrd="2" destOrd="0" parTransId="{236C89E9-414B-40EF-9BEB-6E3694CC25D5}" sibTransId="{DF875EF1-3791-4691-B22B-0775BF988202}"/>
    <dgm:cxn modelId="{ADFD75F4-E233-443B-9F55-CE4FAEB39A98}" type="presOf" srcId="{76D4AD5E-6988-4692-9292-71DA48BEBD37}" destId="{85571779-7FF0-411B-BBD1-132C8E07ED23}" srcOrd="0" destOrd="0" presId="urn:microsoft.com/office/officeart/2005/8/layout/hProcess11"/>
    <dgm:cxn modelId="{84809E25-0253-4A47-8923-761C41916C95}" type="presParOf" srcId="{3C94E61F-2C0B-4968-8C67-6C9EBEB814F0}" destId="{614DBB50-2ACD-460D-A3E4-E9DE4C58472E}" srcOrd="0" destOrd="0" presId="urn:microsoft.com/office/officeart/2005/8/layout/hProcess11"/>
    <dgm:cxn modelId="{3EBA76C0-A2EB-48F6-9D8D-C5AAF993E259}" type="presParOf" srcId="{3C94E61F-2C0B-4968-8C67-6C9EBEB814F0}" destId="{D5A7A0E8-77A0-4190-A28D-EF5AB3EC62BD}" srcOrd="1" destOrd="0" presId="urn:microsoft.com/office/officeart/2005/8/layout/hProcess11"/>
    <dgm:cxn modelId="{C67858AF-AD4A-4A52-92DA-14CE03D16548}" type="presParOf" srcId="{D5A7A0E8-77A0-4190-A28D-EF5AB3EC62BD}" destId="{E3198214-029F-425E-B7A0-081B7617687B}" srcOrd="0" destOrd="0" presId="urn:microsoft.com/office/officeart/2005/8/layout/hProcess11"/>
    <dgm:cxn modelId="{E26A3004-C4BA-4905-9947-06830B1A7AB3}" type="presParOf" srcId="{E3198214-029F-425E-B7A0-081B7617687B}" destId="{EDB68A8B-C5B3-4248-B557-3F0510F64330}" srcOrd="0" destOrd="0" presId="urn:microsoft.com/office/officeart/2005/8/layout/hProcess11"/>
    <dgm:cxn modelId="{8679C000-F924-4C0A-8D0C-45F7F6058E6A}" type="presParOf" srcId="{E3198214-029F-425E-B7A0-081B7617687B}" destId="{F4D01933-CC65-4B01-93F6-11E409D84BBB}" srcOrd="1" destOrd="0" presId="urn:microsoft.com/office/officeart/2005/8/layout/hProcess11"/>
    <dgm:cxn modelId="{4F2EB79A-98A0-4D1E-9E15-DE61108F33E7}" type="presParOf" srcId="{E3198214-029F-425E-B7A0-081B7617687B}" destId="{D86BAAF0-2152-46B6-B449-8FB14CCA08A8}" srcOrd="2" destOrd="0" presId="urn:microsoft.com/office/officeart/2005/8/layout/hProcess11"/>
    <dgm:cxn modelId="{4AB67A1E-7E49-4DCC-BBC9-5965BB5ED4B6}" type="presParOf" srcId="{D5A7A0E8-77A0-4190-A28D-EF5AB3EC62BD}" destId="{BC0B34B5-C650-4C5D-99FE-E04A1978E9FA}" srcOrd="1" destOrd="0" presId="urn:microsoft.com/office/officeart/2005/8/layout/hProcess11"/>
    <dgm:cxn modelId="{AC90D4F1-09FD-47A7-BEF2-06621A3603B2}" type="presParOf" srcId="{D5A7A0E8-77A0-4190-A28D-EF5AB3EC62BD}" destId="{A73BBA47-90FA-4D48-8FFD-E5084139E939}" srcOrd="2" destOrd="0" presId="urn:microsoft.com/office/officeart/2005/8/layout/hProcess11"/>
    <dgm:cxn modelId="{616D2405-B223-4FC4-9203-DA68CA1DBF6C}" type="presParOf" srcId="{A73BBA47-90FA-4D48-8FFD-E5084139E939}" destId="{345DE3EF-3E61-4B6F-B295-13F661E1F6A0}" srcOrd="0" destOrd="0" presId="urn:microsoft.com/office/officeart/2005/8/layout/hProcess11"/>
    <dgm:cxn modelId="{D308ED92-D633-4325-A8E1-9FED622A1CA6}" type="presParOf" srcId="{A73BBA47-90FA-4D48-8FFD-E5084139E939}" destId="{7814B473-3A63-4994-B070-23DE30E99673}" srcOrd="1" destOrd="0" presId="urn:microsoft.com/office/officeart/2005/8/layout/hProcess11"/>
    <dgm:cxn modelId="{12829649-2871-4556-ABB9-0043337F71E9}" type="presParOf" srcId="{A73BBA47-90FA-4D48-8FFD-E5084139E939}" destId="{74EA3F7D-12D7-406B-ABD1-78FD87A35AF4}" srcOrd="2" destOrd="0" presId="urn:microsoft.com/office/officeart/2005/8/layout/hProcess11"/>
    <dgm:cxn modelId="{8536F52D-8C4A-4B81-99C4-A80BE8922AE8}" type="presParOf" srcId="{D5A7A0E8-77A0-4190-A28D-EF5AB3EC62BD}" destId="{CD9ED526-77A5-4B96-B82A-1E75998DCAE4}" srcOrd="3" destOrd="0" presId="urn:microsoft.com/office/officeart/2005/8/layout/hProcess11"/>
    <dgm:cxn modelId="{6E9E1A91-2BA1-4710-846B-D2598A8289A5}" type="presParOf" srcId="{D5A7A0E8-77A0-4190-A28D-EF5AB3EC62BD}" destId="{AAA13F0B-A665-4360-852E-C05274C1519D}" srcOrd="4" destOrd="0" presId="urn:microsoft.com/office/officeart/2005/8/layout/hProcess11"/>
    <dgm:cxn modelId="{017FFDD5-A673-4F3E-BBBC-48B190675524}" type="presParOf" srcId="{AAA13F0B-A665-4360-852E-C05274C1519D}" destId="{88BD950F-53ED-4214-831B-0DAEDB395C91}" srcOrd="0" destOrd="0" presId="urn:microsoft.com/office/officeart/2005/8/layout/hProcess11"/>
    <dgm:cxn modelId="{BE1745D8-B0D6-4B79-9C73-0EA0C0A70643}" type="presParOf" srcId="{AAA13F0B-A665-4360-852E-C05274C1519D}" destId="{50937E70-C5BD-46B7-BF61-A68E1B4EBC7A}" srcOrd="1" destOrd="0" presId="urn:microsoft.com/office/officeart/2005/8/layout/hProcess11"/>
    <dgm:cxn modelId="{FEA25677-7882-4722-89A7-C943D7C89955}" type="presParOf" srcId="{AAA13F0B-A665-4360-852E-C05274C1519D}" destId="{5DA0C666-7799-467B-80F3-E9CF1176BC57}" srcOrd="2" destOrd="0" presId="urn:microsoft.com/office/officeart/2005/8/layout/hProcess11"/>
    <dgm:cxn modelId="{45C1765A-B5BF-4757-B8F7-A07BE4C6D5F2}" type="presParOf" srcId="{D5A7A0E8-77A0-4190-A28D-EF5AB3EC62BD}" destId="{B26F360A-6DE4-4D31-B0B4-DF921A4B4134}" srcOrd="5" destOrd="0" presId="urn:microsoft.com/office/officeart/2005/8/layout/hProcess11"/>
    <dgm:cxn modelId="{B4E54BD6-6C1F-4463-9187-F0AC06C2BDBE}" type="presParOf" srcId="{D5A7A0E8-77A0-4190-A28D-EF5AB3EC62BD}" destId="{A3B8E0D0-5753-4A4B-97D2-51116F898D95}" srcOrd="6" destOrd="0" presId="urn:microsoft.com/office/officeart/2005/8/layout/hProcess11"/>
    <dgm:cxn modelId="{C15E0C1C-B901-4A77-ABCB-FF408FD4062D}" type="presParOf" srcId="{A3B8E0D0-5753-4A4B-97D2-51116F898D95}" destId="{85571779-7FF0-411B-BBD1-132C8E07ED23}" srcOrd="0" destOrd="0" presId="urn:microsoft.com/office/officeart/2005/8/layout/hProcess11"/>
    <dgm:cxn modelId="{F294701D-A7FF-4A1E-B75B-6E53F8A56B9A}" type="presParOf" srcId="{A3B8E0D0-5753-4A4B-97D2-51116F898D95}" destId="{469D2C6C-F86C-4729-B6B2-8E601CA7F2C4}" srcOrd="1" destOrd="0" presId="urn:microsoft.com/office/officeart/2005/8/layout/hProcess11"/>
    <dgm:cxn modelId="{C8894010-6C1A-47E8-9EDE-96FC669E08CF}" type="presParOf" srcId="{A3B8E0D0-5753-4A4B-97D2-51116F898D95}" destId="{1EF82359-366E-42EC-B3D3-6D704BEDD1B5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34A3DE-47FE-4E75-8AD2-26FC9CEF107B}" type="doc">
      <dgm:prSet loTypeId="urn:microsoft.com/office/officeart/2005/8/layout/vList6" loCatId="list" qsTypeId="urn:microsoft.com/office/officeart/2005/8/quickstyle/3d1" qsCatId="3D" csTypeId="urn:microsoft.com/office/officeart/2005/8/colors/colorful3" csCatId="colorful" phldr="1"/>
      <dgm:spPr/>
      <dgm:t>
        <a:bodyPr/>
        <a:lstStyle/>
        <a:p>
          <a:endParaRPr lang="es-EC"/>
        </a:p>
      </dgm:t>
    </dgm:pt>
    <dgm:pt modelId="{D87DBCC0-3567-4EFD-926A-849493162144}">
      <dgm:prSet phldrT="[Texto]"/>
      <dgm:spPr/>
      <dgm:t>
        <a:bodyPr/>
        <a:lstStyle/>
        <a:p>
          <a:r>
            <a:rPr lang="es-EC" b="0" dirty="0" smtClean="0"/>
            <a:t>1</a:t>
          </a:r>
          <a:endParaRPr lang="es-EC" b="0" dirty="0"/>
        </a:p>
      </dgm:t>
    </dgm:pt>
    <dgm:pt modelId="{7F2FBF00-3DDC-4BB4-AC51-0C0C4162ABBF}" type="parTrans" cxnId="{6F6C14B3-2064-4187-9977-7A95F6582C1C}">
      <dgm:prSet/>
      <dgm:spPr/>
      <dgm:t>
        <a:bodyPr/>
        <a:lstStyle/>
        <a:p>
          <a:endParaRPr lang="es-EC" b="0"/>
        </a:p>
      </dgm:t>
    </dgm:pt>
    <dgm:pt modelId="{24B27EAD-6005-4104-9DDE-3F3CBFDEA8DE}" type="sibTrans" cxnId="{6F6C14B3-2064-4187-9977-7A95F6582C1C}">
      <dgm:prSet/>
      <dgm:spPr/>
      <dgm:t>
        <a:bodyPr/>
        <a:lstStyle/>
        <a:p>
          <a:endParaRPr lang="es-EC" b="0"/>
        </a:p>
      </dgm:t>
    </dgm:pt>
    <dgm:pt modelId="{02C61A7F-5720-4647-A2F5-82F09528251D}">
      <dgm:prSet phldrT="[Texto]"/>
      <dgm:spPr/>
      <dgm:t>
        <a:bodyPr/>
        <a:lstStyle/>
        <a:p>
          <a:r>
            <a:rPr lang="es-EC" b="0" dirty="0" smtClean="0"/>
            <a:t>2</a:t>
          </a:r>
          <a:endParaRPr lang="es-EC" b="0" dirty="0"/>
        </a:p>
      </dgm:t>
    </dgm:pt>
    <dgm:pt modelId="{16FF6C08-C069-4DAE-82C9-C7787E23BE19}" type="parTrans" cxnId="{BA7EFB10-A1B5-43E0-AF1F-348B0596F3F2}">
      <dgm:prSet/>
      <dgm:spPr/>
      <dgm:t>
        <a:bodyPr/>
        <a:lstStyle/>
        <a:p>
          <a:endParaRPr lang="es-EC" b="0"/>
        </a:p>
      </dgm:t>
    </dgm:pt>
    <dgm:pt modelId="{2897E7BB-6BEF-4C82-BE97-3AD99E81DB50}" type="sibTrans" cxnId="{BA7EFB10-A1B5-43E0-AF1F-348B0596F3F2}">
      <dgm:prSet/>
      <dgm:spPr/>
      <dgm:t>
        <a:bodyPr/>
        <a:lstStyle/>
        <a:p>
          <a:endParaRPr lang="es-EC" b="0"/>
        </a:p>
      </dgm:t>
    </dgm:pt>
    <dgm:pt modelId="{1145986A-A77F-4C71-A7EF-79F0F5A869D5}">
      <dgm:prSet phldrT="[Texto]" custT="1"/>
      <dgm:spPr/>
      <dgm:t>
        <a:bodyPr/>
        <a:lstStyle/>
        <a:p>
          <a:r>
            <a:rPr lang="es-EC" sz="1700" b="0" dirty="0" err="1" smtClean="0"/>
            <a:t>National</a:t>
          </a:r>
          <a:r>
            <a:rPr lang="es-EC" sz="1700" b="0" dirty="0" smtClean="0"/>
            <a:t> Territorial </a:t>
          </a:r>
          <a:r>
            <a:rPr lang="es-EC" sz="1700" b="0" dirty="0" err="1" smtClean="0"/>
            <a:t>Strategy</a:t>
          </a:r>
          <a:endParaRPr lang="es-EC" sz="1700" b="0" dirty="0"/>
        </a:p>
      </dgm:t>
    </dgm:pt>
    <dgm:pt modelId="{9564CC95-5B96-4FAA-A122-369E70806DA9}" type="parTrans" cxnId="{4E1B22DC-CDBC-4CEB-9DB1-A57B0B5DE332}">
      <dgm:prSet/>
      <dgm:spPr/>
      <dgm:t>
        <a:bodyPr/>
        <a:lstStyle/>
        <a:p>
          <a:endParaRPr lang="es-EC" b="0"/>
        </a:p>
      </dgm:t>
    </dgm:pt>
    <dgm:pt modelId="{9C399B39-C160-4A41-A6FB-46E137C03633}" type="sibTrans" cxnId="{4E1B22DC-CDBC-4CEB-9DB1-A57B0B5DE332}">
      <dgm:prSet/>
      <dgm:spPr/>
      <dgm:t>
        <a:bodyPr/>
        <a:lstStyle/>
        <a:p>
          <a:endParaRPr lang="es-EC" b="0"/>
        </a:p>
      </dgm:t>
    </dgm:pt>
    <dgm:pt modelId="{AFC66F1B-BF3F-42AE-B921-5930BC03F85D}">
      <dgm:prSet/>
      <dgm:spPr/>
      <dgm:t>
        <a:bodyPr/>
        <a:lstStyle/>
        <a:p>
          <a:r>
            <a:rPr lang="es-EC" b="0" dirty="0" smtClean="0"/>
            <a:t>3</a:t>
          </a:r>
          <a:endParaRPr lang="es-EC" b="0" dirty="0"/>
        </a:p>
      </dgm:t>
    </dgm:pt>
    <dgm:pt modelId="{5F0670D6-E280-4648-BDCC-1608182447EB}" type="parTrans" cxnId="{268B83EA-CEFE-45FD-8E1F-306173F63839}">
      <dgm:prSet/>
      <dgm:spPr/>
      <dgm:t>
        <a:bodyPr/>
        <a:lstStyle/>
        <a:p>
          <a:endParaRPr lang="es-EC" b="0"/>
        </a:p>
      </dgm:t>
    </dgm:pt>
    <dgm:pt modelId="{3449A33B-5433-4A48-A852-1283421E5F73}" type="sibTrans" cxnId="{268B83EA-CEFE-45FD-8E1F-306173F63839}">
      <dgm:prSet/>
      <dgm:spPr/>
      <dgm:t>
        <a:bodyPr/>
        <a:lstStyle/>
        <a:p>
          <a:endParaRPr lang="es-EC" b="0"/>
        </a:p>
      </dgm:t>
    </dgm:pt>
    <dgm:pt modelId="{CCC0B36A-5B4D-4C9D-B938-9B628775A823}">
      <dgm:prSet phldrT="[Texto]"/>
      <dgm:spPr/>
      <dgm:t>
        <a:bodyPr/>
        <a:lstStyle/>
        <a:p>
          <a:endParaRPr lang="es-EC" sz="1600" b="0" dirty="0"/>
        </a:p>
      </dgm:t>
    </dgm:pt>
    <dgm:pt modelId="{606DE9CF-805E-4449-9972-5E242111076A}" type="parTrans" cxnId="{4527F4D5-3401-4D1E-9D7F-BEDF9491B5D6}">
      <dgm:prSet/>
      <dgm:spPr/>
      <dgm:t>
        <a:bodyPr/>
        <a:lstStyle/>
        <a:p>
          <a:endParaRPr lang="es-EC" b="0"/>
        </a:p>
      </dgm:t>
    </dgm:pt>
    <dgm:pt modelId="{D9642D8E-5D32-4CC9-A7EF-EDC01A05A4D4}" type="sibTrans" cxnId="{4527F4D5-3401-4D1E-9D7F-BEDF9491B5D6}">
      <dgm:prSet/>
      <dgm:spPr/>
      <dgm:t>
        <a:bodyPr/>
        <a:lstStyle/>
        <a:p>
          <a:endParaRPr lang="es-EC" b="0"/>
        </a:p>
      </dgm:t>
    </dgm:pt>
    <dgm:pt modelId="{9DFDDC07-41C9-48CC-ACB6-B8BDC57A6B20}">
      <dgm:prSet custT="1"/>
      <dgm:spPr/>
      <dgm:t>
        <a:bodyPr anchor="ctr"/>
        <a:lstStyle/>
        <a:p>
          <a:r>
            <a:rPr lang="es-EC" sz="1700" b="0" dirty="0" smtClean="0"/>
            <a:t>12 </a:t>
          </a:r>
          <a:r>
            <a:rPr lang="es-EC" sz="1700" b="0" dirty="0" err="1" smtClean="0"/>
            <a:t>National</a:t>
          </a:r>
          <a:r>
            <a:rPr lang="es-EC" sz="1700" b="0" dirty="0" smtClean="0"/>
            <a:t> </a:t>
          </a:r>
          <a:r>
            <a:rPr lang="es-EC" sz="1700" b="0" dirty="0" err="1" smtClean="0"/>
            <a:t>Objectives</a:t>
          </a:r>
          <a:r>
            <a:rPr lang="es-EC" sz="1700" b="0" dirty="0" smtClean="0"/>
            <a:t>, </a:t>
          </a:r>
          <a:r>
            <a:rPr lang="es-EC" sz="1700" b="0" dirty="0" err="1" smtClean="0"/>
            <a:t>divided</a:t>
          </a:r>
          <a:r>
            <a:rPr lang="es-EC" sz="1700" b="0" dirty="0" smtClean="0"/>
            <a:t> in 3 axis</a:t>
          </a:r>
          <a:endParaRPr lang="es-EC" sz="1600" b="0" dirty="0"/>
        </a:p>
      </dgm:t>
    </dgm:pt>
    <dgm:pt modelId="{DA4C2800-EDB6-4DAA-89B4-327F4DCBF8BA}" type="parTrans" cxnId="{5150D0D0-BE75-4C7F-86D9-4174072925A2}">
      <dgm:prSet/>
      <dgm:spPr/>
      <dgm:t>
        <a:bodyPr/>
        <a:lstStyle/>
        <a:p>
          <a:endParaRPr lang="es-EC" b="0"/>
        </a:p>
      </dgm:t>
    </dgm:pt>
    <dgm:pt modelId="{45A77C8A-4305-4A57-9ECE-FEB22903CEAA}" type="sibTrans" cxnId="{5150D0D0-BE75-4C7F-86D9-4174072925A2}">
      <dgm:prSet/>
      <dgm:spPr/>
      <dgm:t>
        <a:bodyPr/>
        <a:lstStyle/>
        <a:p>
          <a:endParaRPr lang="es-EC" b="0"/>
        </a:p>
      </dgm:t>
    </dgm:pt>
    <dgm:pt modelId="{604A95E1-98AB-41A7-B41A-2BC5D0C7FA6A}">
      <dgm:prSet phldrT="[Texto]" custT="1"/>
      <dgm:spPr/>
      <dgm:t>
        <a:bodyPr anchor="ctr"/>
        <a:lstStyle/>
        <a:p>
          <a:r>
            <a:rPr lang="es-EC" sz="1700" b="0" dirty="0" err="1" smtClean="0"/>
            <a:t>Strategy</a:t>
          </a:r>
          <a:r>
            <a:rPr lang="es-EC" sz="1700" b="0" dirty="0" smtClean="0"/>
            <a:t> of </a:t>
          </a:r>
          <a:r>
            <a:rPr lang="es-EC" sz="1700" b="0" dirty="0" err="1" smtClean="0"/>
            <a:t>Acumulation</a:t>
          </a:r>
          <a:r>
            <a:rPr lang="es-EC" sz="1700" b="0" dirty="0" smtClean="0"/>
            <a:t>, </a:t>
          </a:r>
          <a:r>
            <a:rPr lang="es-EC" sz="1700" b="0" dirty="0" err="1" smtClean="0"/>
            <a:t>Distribution</a:t>
          </a:r>
          <a:r>
            <a:rPr lang="es-EC" sz="1700" b="0" dirty="0" smtClean="0"/>
            <a:t> and </a:t>
          </a:r>
          <a:r>
            <a:rPr lang="es-EC" sz="1700" b="0" dirty="0" err="1" smtClean="0"/>
            <a:t>Redistribution</a:t>
          </a:r>
          <a:r>
            <a:rPr lang="es-EC" sz="1700" b="0" dirty="0" smtClean="0"/>
            <a:t> of </a:t>
          </a:r>
          <a:r>
            <a:rPr lang="es-EC" sz="1700" b="0" dirty="0" err="1" smtClean="0"/>
            <a:t>wealth</a:t>
          </a:r>
          <a:endParaRPr lang="es-EC" sz="1600" b="0" dirty="0"/>
        </a:p>
      </dgm:t>
    </dgm:pt>
    <dgm:pt modelId="{BB499CA3-0B33-442A-9CC6-07564CE1B9FF}" type="parTrans" cxnId="{41E488DF-E2C0-44B7-B795-72E9A6D35A55}">
      <dgm:prSet/>
      <dgm:spPr/>
      <dgm:t>
        <a:bodyPr/>
        <a:lstStyle/>
        <a:p>
          <a:endParaRPr lang="es-EC" b="0"/>
        </a:p>
      </dgm:t>
    </dgm:pt>
    <dgm:pt modelId="{94A004E6-D148-40D2-A166-4BD9108964A9}" type="sibTrans" cxnId="{41E488DF-E2C0-44B7-B795-72E9A6D35A55}">
      <dgm:prSet/>
      <dgm:spPr/>
      <dgm:t>
        <a:bodyPr/>
        <a:lstStyle/>
        <a:p>
          <a:endParaRPr lang="es-EC" b="0"/>
        </a:p>
      </dgm:t>
    </dgm:pt>
    <dgm:pt modelId="{C73F01D6-7605-43EB-A98E-13F53DBD486A}" type="pres">
      <dgm:prSet presAssocID="{2434A3DE-47FE-4E75-8AD2-26FC9CEF107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s-EC"/>
        </a:p>
      </dgm:t>
    </dgm:pt>
    <dgm:pt modelId="{55B7E81B-B4AB-4E7C-A2EE-096B95C3F5E9}" type="pres">
      <dgm:prSet presAssocID="{D87DBCC0-3567-4EFD-926A-849493162144}" presName="linNode" presStyleCnt="0"/>
      <dgm:spPr/>
      <dgm:t>
        <a:bodyPr/>
        <a:lstStyle/>
        <a:p>
          <a:endParaRPr lang="es-EC"/>
        </a:p>
      </dgm:t>
    </dgm:pt>
    <dgm:pt modelId="{90E3CBE1-B78E-4000-9380-657D66724B10}" type="pres">
      <dgm:prSet presAssocID="{D87DBCC0-3567-4EFD-926A-849493162144}" presName="parentShp" presStyleLbl="node1" presStyleIdx="0" presStyleCnt="3" custScaleX="42116" custLinFactNeighborX="-2192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33D89CFE-B0F6-4C50-B51B-81AF21E90B59}" type="pres">
      <dgm:prSet presAssocID="{D87DBCC0-3567-4EFD-926A-849493162144}" presName="childShp" presStyleLbl="bgAccFollowNode1" presStyleIdx="0" presStyleCnt="3" custScaleX="137515" custScaleY="111027" custLinFactNeighborX="345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9D7A878-1812-431C-BCA9-16DA6EB874A6}" type="pres">
      <dgm:prSet presAssocID="{24B27EAD-6005-4104-9DDE-3F3CBFDEA8DE}" presName="spacing" presStyleCnt="0"/>
      <dgm:spPr/>
      <dgm:t>
        <a:bodyPr/>
        <a:lstStyle/>
        <a:p>
          <a:endParaRPr lang="es-EC"/>
        </a:p>
      </dgm:t>
    </dgm:pt>
    <dgm:pt modelId="{F53F7568-F931-4AD2-BD19-00B5E1526286}" type="pres">
      <dgm:prSet presAssocID="{02C61A7F-5720-4647-A2F5-82F09528251D}" presName="linNode" presStyleCnt="0"/>
      <dgm:spPr/>
      <dgm:t>
        <a:bodyPr/>
        <a:lstStyle/>
        <a:p>
          <a:endParaRPr lang="es-EC"/>
        </a:p>
      </dgm:t>
    </dgm:pt>
    <dgm:pt modelId="{DE9796ED-6998-4290-89AA-92F7109067AB}" type="pres">
      <dgm:prSet presAssocID="{02C61A7F-5720-4647-A2F5-82F09528251D}" presName="parentShp" presStyleLbl="node1" presStyleIdx="1" presStyleCnt="3" custScaleX="42116" custLinFactNeighborX="-2192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17425118-094F-4F3C-8981-B949638ECB64}" type="pres">
      <dgm:prSet presAssocID="{02C61A7F-5720-4647-A2F5-82F09528251D}" presName="childShp" presStyleLbl="bgAccFollowNode1" presStyleIdx="1" presStyleCnt="3" custScaleX="137515" custLinFactNeighborX="345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03840DA-8ECC-4BD0-8DAB-2544B8B732EC}" type="pres">
      <dgm:prSet presAssocID="{2897E7BB-6BEF-4C82-BE97-3AD99E81DB50}" presName="spacing" presStyleCnt="0"/>
      <dgm:spPr/>
      <dgm:t>
        <a:bodyPr/>
        <a:lstStyle/>
        <a:p>
          <a:endParaRPr lang="es-EC"/>
        </a:p>
      </dgm:t>
    </dgm:pt>
    <dgm:pt modelId="{22D49291-CFEE-4C11-BFC9-BB612081A909}" type="pres">
      <dgm:prSet presAssocID="{AFC66F1B-BF3F-42AE-B921-5930BC03F85D}" presName="linNode" presStyleCnt="0"/>
      <dgm:spPr/>
      <dgm:t>
        <a:bodyPr/>
        <a:lstStyle/>
        <a:p>
          <a:endParaRPr lang="es-EC"/>
        </a:p>
      </dgm:t>
    </dgm:pt>
    <dgm:pt modelId="{A4D3A435-E35A-4E84-9780-5A55EBB48617}" type="pres">
      <dgm:prSet presAssocID="{AFC66F1B-BF3F-42AE-B921-5930BC03F85D}" presName="parentShp" presStyleLbl="node1" presStyleIdx="2" presStyleCnt="3" custScaleX="42116" custLinFactNeighborX="-2192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08D482E9-5116-41F4-92DC-C94479BC8BA5}" type="pres">
      <dgm:prSet presAssocID="{AFC66F1B-BF3F-42AE-B921-5930BC03F85D}" presName="childShp" presStyleLbl="bgAccFollowNode1" presStyleIdx="2" presStyleCnt="3" custScaleX="137515" custLinFactNeighborX="3456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41E488DF-E2C0-44B7-B795-72E9A6D35A55}" srcId="{D87DBCC0-3567-4EFD-926A-849493162144}" destId="{604A95E1-98AB-41A7-B41A-2BC5D0C7FA6A}" srcOrd="0" destOrd="0" parTransId="{BB499CA3-0B33-442A-9CC6-07564CE1B9FF}" sibTransId="{94A004E6-D148-40D2-A166-4BD9108964A9}"/>
    <dgm:cxn modelId="{862EB098-82E8-4CEF-94B1-D5C9A13B95AE}" type="presOf" srcId="{2434A3DE-47FE-4E75-8AD2-26FC9CEF107B}" destId="{C73F01D6-7605-43EB-A98E-13F53DBD486A}" srcOrd="0" destOrd="0" presId="urn:microsoft.com/office/officeart/2005/8/layout/vList6"/>
    <dgm:cxn modelId="{5462CF23-AB27-4462-9657-34C881CF2D80}" type="presOf" srcId="{1145986A-A77F-4C71-A7EF-79F0F5A869D5}" destId="{17425118-094F-4F3C-8981-B949638ECB64}" srcOrd="0" destOrd="1" presId="urn:microsoft.com/office/officeart/2005/8/layout/vList6"/>
    <dgm:cxn modelId="{7ECA9AA6-93E6-4B8F-BC7E-D21EC94892AD}" type="presOf" srcId="{D87DBCC0-3567-4EFD-926A-849493162144}" destId="{90E3CBE1-B78E-4000-9380-657D66724B10}" srcOrd="0" destOrd="0" presId="urn:microsoft.com/office/officeart/2005/8/layout/vList6"/>
    <dgm:cxn modelId="{BA7EFB10-A1B5-43E0-AF1F-348B0596F3F2}" srcId="{2434A3DE-47FE-4E75-8AD2-26FC9CEF107B}" destId="{02C61A7F-5720-4647-A2F5-82F09528251D}" srcOrd="1" destOrd="0" parTransId="{16FF6C08-C069-4DAE-82C9-C7787E23BE19}" sibTransId="{2897E7BB-6BEF-4C82-BE97-3AD99E81DB50}"/>
    <dgm:cxn modelId="{268B83EA-CEFE-45FD-8E1F-306173F63839}" srcId="{2434A3DE-47FE-4E75-8AD2-26FC9CEF107B}" destId="{AFC66F1B-BF3F-42AE-B921-5930BC03F85D}" srcOrd="2" destOrd="0" parTransId="{5F0670D6-E280-4648-BDCC-1608182447EB}" sibTransId="{3449A33B-5433-4A48-A852-1283421E5F73}"/>
    <dgm:cxn modelId="{5150D0D0-BE75-4C7F-86D9-4174072925A2}" srcId="{AFC66F1B-BF3F-42AE-B921-5930BC03F85D}" destId="{9DFDDC07-41C9-48CC-ACB6-B8BDC57A6B20}" srcOrd="0" destOrd="0" parTransId="{DA4C2800-EDB6-4DAA-89B4-327F4DCBF8BA}" sibTransId="{45A77C8A-4305-4A57-9ECE-FEB22903CEAA}"/>
    <dgm:cxn modelId="{DECFC551-BDCC-4573-BFEA-41A4EFD3EA8F}" type="presOf" srcId="{604A95E1-98AB-41A7-B41A-2BC5D0C7FA6A}" destId="{33D89CFE-B0F6-4C50-B51B-81AF21E90B59}" srcOrd="0" destOrd="0" presId="urn:microsoft.com/office/officeart/2005/8/layout/vList6"/>
    <dgm:cxn modelId="{537A6D2B-7270-4D7F-8D37-54EE26D2595B}" type="presOf" srcId="{9DFDDC07-41C9-48CC-ACB6-B8BDC57A6B20}" destId="{08D482E9-5116-41F4-92DC-C94479BC8BA5}" srcOrd="0" destOrd="0" presId="urn:microsoft.com/office/officeart/2005/8/layout/vList6"/>
    <dgm:cxn modelId="{1FA2FD46-360A-408C-9CEB-48B663A7A0CF}" type="presOf" srcId="{CCC0B36A-5B4D-4C9D-B938-9B628775A823}" destId="{17425118-094F-4F3C-8981-B949638ECB64}" srcOrd="0" destOrd="0" presId="urn:microsoft.com/office/officeart/2005/8/layout/vList6"/>
    <dgm:cxn modelId="{4527F4D5-3401-4D1E-9D7F-BEDF9491B5D6}" srcId="{02C61A7F-5720-4647-A2F5-82F09528251D}" destId="{CCC0B36A-5B4D-4C9D-B938-9B628775A823}" srcOrd="0" destOrd="0" parTransId="{606DE9CF-805E-4449-9972-5E242111076A}" sibTransId="{D9642D8E-5D32-4CC9-A7EF-EDC01A05A4D4}"/>
    <dgm:cxn modelId="{FB96C486-36E6-4E6C-9A1F-A4627D4FA82D}" type="presOf" srcId="{AFC66F1B-BF3F-42AE-B921-5930BC03F85D}" destId="{A4D3A435-E35A-4E84-9780-5A55EBB48617}" srcOrd="0" destOrd="0" presId="urn:microsoft.com/office/officeart/2005/8/layout/vList6"/>
    <dgm:cxn modelId="{05CF200C-EB8C-46C4-8921-C0DECDA4AE0D}" type="presOf" srcId="{02C61A7F-5720-4647-A2F5-82F09528251D}" destId="{DE9796ED-6998-4290-89AA-92F7109067AB}" srcOrd="0" destOrd="0" presId="urn:microsoft.com/office/officeart/2005/8/layout/vList6"/>
    <dgm:cxn modelId="{4E1B22DC-CDBC-4CEB-9DB1-A57B0B5DE332}" srcId="{02C61A7F-5720-4647-A2F5-82F09528251D}" destId="{1145986A-A77F-4C71-A7EF-79F0F5A869D5}" srcOrd="1" destOrd="0" parTransId="{9564CC95-5B96-4FAA-A122-369E70806DA9}" sibTransId="{9C399B39-C160-4A41-A6FB-46E137C03633}"/>
    <dgm:cxn modelId="{6F6C14B3-2064-4187-9977-7A95F6582C1C}" srcId="{2434A3DE-47FE-4E75-8AD2-26FC9CEF107B}" destId="{D87DBCC0-3567-4EFD-926A-849493162144}" srcOrd="0" destOrd="0" parTransId="{7F2FBF00-3DDC-4BB4-AC51-0C0C4162ABBF}" sibTransId="{24B27EAD-6005-4104-9DDE-3F3CBFDEA8DE}"/>
    <dgm:cxn modelId="{2015887A-B6AD-48D7-8693-E3F66DEBA64A}" type="presParOf" srcId="{C73F01D6-7605-43EB-A98E-13F53DBD486A}" destId="{55B7E81B-B4AB-4E7C-A2EE-096B95C3F5E9}" srcOrd="0" destOrd="0" presId="urn:microsoft.com/office/officeart/2005/8/layout/vList6"/>
    <dgm:cxn modelId="{F7D45A4B-9E9A-4AB8-B30D-AD7AE009F377}" type="presParOf" srcId="{55B7E81B-B4AB-4E7C-A2EE-096B95C3F5E9}" destId="{90E3CBE1-B78E-4000-9380-657D66724B10}" srcOrd="0" destOrd="0" presId="urn:microsoft.com/office/officeart/2005/8/layout/vList6"/>
    <dgm:cxn modelId="{A770109B-8A69-4E26-8EDD-844F14704920}" type="presParOf" srcId="{55B7E81B-B4AB-4E7C-A2EE-096B95C3F5E9}" destId="{33D89CFE-B0F6-4C50-B51B-81AF21E90B59}" srcOrd="1" destOrd="0" presId="urn:microsoft.com/office/officeart/2005/8/layout/vList6"/>
    <dgm:cxn modelId="{67F24F33-940F-49B8-AB3F-86C9C753840B}" type="presParOf" srcId="{C73F01D6-7605-43EB-A98E-13F53DBD486A}" destId="{79D7A878-1812-431C-BCA9-16DA6EB874A6}" srcOrd="1" destOrd="0" presId="urn:microsoft.com/office/officeart/2005/8/layout/vList6"/>
    <dgm:cxn modelId="{354C695A-137B-41EE-99F7-F4C491FCFFC5}" type="presParOf" srcId="{C73F01D6-7605-43EB-A98E-13F53DBD486A}" destId="{F53F7568-F931-4AD2-BD19-00B5E1526286}" srcOrd="2" destOrd="0" presId="urn:microsoft.com/office/officeart/2005/8/layout/vList6"/>
    <dgm:cxn modelId="{0D402EF9-3802-4FD1-B0D0-9337A42702CF}" type="presParOf" srcId="{F53F7568-F931-4AD2-BD19-00B5E1526286}" destId="{DE9796ED-6998-4290-89AA-92F7109067AB}" srcOrd="0" destOrd="0" presId="urn:microsoft.com/office/officeart/2005/8/layout/vList6"/>
    <dgm:cxn modelId="{FA185607-E5B2-4EBD-BC8C-A3A67DC4887A}" type="presParOf" srcId="{F53F7568-F931-4AD2-BD19-00B5E1526286}" destId="{17425118-094F-4F3C-8981-B949638ECB64}" srcOrd="1" destOrd="0" presId="urn:microsoft.com/office/officeart/2005/8/layout/vList6"/>
    <dgm:cxn modelId="{E3DF5E78-97F9-4318-A20D-7E0884D451B3}" type="presParOf" srcId="{C73F01D6-7605-43EB-A98E-13F53DBD486A}" destId="{803840DA-8ECC-4BD0-8DAB-2544B8B732EC}" srcOrd="3" destOrd="0" presId="urn:microsoft.com/office/officeart/2005/8/layout/vList6"/>
    <dgm:cxn modelId="{8415EBCC-0456-47F4-997E-CE0D8AF65198}" type="presParOf" srcId="{C73F01D6-7605-43EB-A98E-13F53DBD486A}" destId="{22D49291-CFEE-4C11-BFC9-BB612081A909}" srcOrd="4" destOrd="0" presId="urn:microsoft.com/office/officeart/2005/8/layout/vList6"/>
    <dgm:cxn modelId="{E733A13D-64D0-4C21-9809-CFB94DCAF97E}" type="presParOf" srcId="{22D49291-CFEE-4C11-BFC9-BB612081A909}" destId="{A4D3A435-E35A-4E84-9780-5A55EBB48617}" srcOrd="0" destOrd="0" presId="urn:microsoft.com/office/officeart/2005/8/layout/vList6"/>
    <dgm:cxn modelId="{878061CA-341D-4DA9-B391-98D03F472C5D}" type="presParOf" srcId="{22D49291-CFEE-4C11-BFC9-BB612081A909}" destId="{08D482E9-5116-41F4-92DC-C94479BC8BA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AF909FE-895A-4B90-A43B-1CD9453412F7}" type="doc">
      <dgm:prSet loTypeId="urn:microsoft.com/office/officeart/2005/8/layout/hierarchy6" loCatId="hierarchy" qsTypeId="urn:microsoft.com/office/officeart/2005/8/quickstyle/3d2" qsCatId="3D" csTypeId="urn:microsoft.com/office/officeart/2005/8/colors/accent2_2" csCatId="accent2" phldr="1"/>
      <dgm:spPr/>
      <dgm:t>
        <a:bodyPr/>
        <a:lstStyle/>
        <a:p>
          <a:endParaRPr lang="es-EC"/>
        </a:p>
      </dgm:t>
    </dgm:pt>
    <dgm:pt modelId="{9C7C0326-0BB6-43C7-B535-03AB80BF895A}">
      <dgm:prSet phldrT="[Texto]"/>
      <dgm:spPr/>
      <dgm:t>
        <a:bodyPr/>
        <a:lstStyle/>
        <a:p>
          <a:r>
            <a:rPr lang="en-US" b="1" dirty="0" smtClean="0"/>
            <a:t>Genetic Resources</a:t>
          </a:r>
          <a:endParaRPr lang="es-EC" dirty="0"/>
        </a:p>
      </dgm:t>
    </dgm:pt>
    <dgm:pt modelId="{95A7878B-AC5E-40EE-89CC-19589397B557}" type="parTrans" cxnId="{5D7B7DC4-3FD8-47D8-A4A0-23BCBE1D4DDE}">
      <dgm:prSet/>
      <dgm:spPr/>
      <dgm:t>
        <a:bodyPr/>
        <a:lstStyle/>
        <a:p>
          <a:endParaRPr lang="es-EC"/>
        </a:p>
      </dgm:t>
    </dgm:pt>
    <dgm:pt modelId="{10544DA1-6295-4343-BBC2-1C7953D23D83}" type="sibTrans" cxnId="{5D7B7DC4-3FD8-47D8-A4A0-23BCBE1D4DDE}">
      <dgm:prSet/>
      <dgm:spPr/>
      <dgm:t>
        <a:bodyPr/>
        <a:lstStyle/>
        <a:p>
          <a:endParaRPr lang="es-EC"/>
        </a:p>
      </dgm:t>
    </dgm:pt>
    <dgm:pt modelId="{A49C5C4B-85BD-461D-8940-D64490E56818}">
      <dgm:prSet phldrT="[Texto]"/>
      <dgm:spPr/>
      <dgm:t>
        <a:bodyPr/>
        <a:lstStyle/>
        <a:p>
          <a:r>
            <a:rPr lang="en-US" b="1" dirty="0" smtClean="0"/>
            <a:t>Ecosystem</a:t>
          </a:r>
        </a:p>
        <a:p>
          <a:r>
            <a:rPr lang="en-US" b="1" dirty="0" smtClean="0"/>
            <a:t>Management</a:t>
          </a:r>
          <a:endParaRPr lang="es-EC" b="1" dirty="0" smtClean="0"/>
        </a:p>
      </dgm:t>
    </dgm:pt>
    <dgm:pt modelId="{DB33C3E1-6BA6-49D5-ACFC-B2BB932C65DE}" type="parTrans" cxnId="{8D5CE70D-CBB2-4B9F-950B-34C1B02F2B62}">
      <dgm:prSet/>
      <dgm:spPr>
        <a:ln>
          <a:solidFill>
            <a:schemeClr val="bg1"/>
          </a:solidFill>
        </a:ln>
      </dgm:spPr>
      <dgm:t>
        <a:bodyPr/>
        <a:lstStyle/>
        <a:p>
          <a:endParaRPr lang="es-EC"/>
        </a:p>
      </dgm:t>
    </dgm:pt>
    <dgm:pt modelId="{18A5E1A2-E77B-4A8D-950E-8A0F4D922882}" type="sibTrans" cxnId="{8D5CE70D-CBB2-4B9F-950B-34C1B02F2B62}">
      <dgm:prSet/>
      <dgm:spPr/>
      <dgm:t>
        <a:bodyPr/>
        <a:lstStyle/>
        <a:p>
          <a:endParaRPr lang="es-EC"/>
        </a:p>
      </dgm:t>
    </dgm:pt>
    <dgm:pt modelId="{5022CB79-81BF-4481-8920-020DBFB8ADBA}">
      <dgm:prSet phldrT="[Texto]"/>
      <dgm:spPr/>
      <dgm:t>
        <a:bodyPr/>
        <a:lstStyle/>
        <a:p>
          <a:r>
            <a:rPr lang="en-US" b="1" dirty="0" smtClean="0"/>
            <a:t>Solid Waste</a:t>
          </a:r>
        </a:p>
        <a:p>
          <a:r>
            <a:rPr lang="en-US" b="1" dirty="0" smtClean="0"/>
            <a:t>Management</a:t>
          </a:r>
          <a:endParaRPr lang="es-EC" b="1" dirty="0" smtClean="0"/>
        </a:p>
      </dgm:t>
    </dgm:pt>
    <dgm:pt modelId="{D8CB81B6-F69B-47C9-8F8B-9D6E476B6C9B}" type="parTrans" cxnId="{2E4F8F99-8C03-45F6-A8E6-66811948C525}">
      <dgm:prSet/>
      <dgm:spPr>
        <a:ln>
          <a:solidFill>
            <a:schemeClr val="bg1"/>
          </a:solidFill>
        </a:ln>
      </dgm:spPr>
      <dgm:t>
        <a:bodyPr/>
        <a:lstStyle/>
        <a:p>
          <a:endParaRPr lang="es-EC"/>
        </a:p>
      </dgm:t>
    </dgm:pt>
    <dgm:pt modelId="{A7DC108A-5F0E-45B1-888B-0C00AD9D021C}" type="sibTrans" cxnId="{2E4F8F99-8C03-45F6-A8E6-66811948C525}">
      <dgm:prSet/>
      <dgm:spPr/>
      <dgm:t>
        <a:bodyPr/>
        <a:lstStyle/>
        <a:p>
          <a:endParaRPr lang="es-EC"/>
        </a:p>
      </dgm:t>
    </dgm:pt>
    <dgm:pt modelId="{76E19C94-F2A1-4CC0-8B5A-0BEF525C4AC8}">
      <dgm:prSet phldrT="[Texto]"/>
      <dgm:spPr/>
      <dgm:t>
        <a:bodyPr/>
        <a:lstStyle/>
        <a:p>
          <a:r>
            <a:rPr lang="en-US" b="1" dirty="0" smtClean="0"/>
            <a:t>Best Environmental Practices</a:t>
          </a:r>
          <a:endParaRPr lang="es-EC" b="1" dirty="0" smtClean="0"/>
        </a:p>
      </dgm:t>
    </dgm:pt>
    <dgm:pt modelId="{9CD6E60D-1C40-42EE-BAF2-9C9A95FB7EB6}" type="parTrans" cxnId="{C532FCA0-F217-464F-9CD8-3CC839C28A6F}">
      <dgm:prSet/>
      <dgm:spPr>
        <a:ln>
          <a:solidFill>
            <a:schemeClr val="bg1"/>
          </a:solidFill>
        </a:ln>
      </dgm:spPr>
      <dgm:t>
        <a:bodyPr/>
        <a:lstStyle/>
        <a:p>
          <a:endParaRPr lang="es-EC"/>
        </a:p>
      </dgm:t>
    </dgm:pt>
    <dgm:pt modelId="{01988BA7-2636-4B28-9881-F4F36C19E6FA}" type="sibTrans" cxnId="{C532FCA0-F217-464F-9CD8-3CC839C28A6F}">
      <dgm:prSet/>
      <dgm:spPr/>
      <dgm:t>
        <a:bodyPr/>
        <a:lstStyle/>
        <a:p>
          <a:endParaRPr lang="es-EC"/>
        </a:p>
      </dgm:t>
    </dgm:pt>
    <dgm:pt modelId="{27D37576-F0B3-420F-BBD0-EB773C7C2119}">
      <dgm:prSet phldrT="[Texto]"/>
      <dgm:spPr/>
      <dgm:t>
        <a:bodyPr/>
        <a:lstStyle/>
        <a:p>
          <a:r>
            <a:rPr lang="en-US" b="1" smtClean="0"/>
            <a:t>Environmental Goods</a:t>
          </a:r>
          <a:endParaRPr lang="es-EC" dirty="0"/>
        </a:p>
      </dgm:t>
    </dgm:pt>
    <dgm:pt modelId="{4C335B00-91DE-464C-AB23-4B2AF19925FC}" type="parTrans" cxnId="{A6E632B0-8468-4915-85B6-364A57E2BC76}">
      <dgm:prSet/>
      <dgm:spPr/>
      <dgm:t>
        <a:bodyPr/>
        <a:lstStyle/>
        <a:p>
          <a:endParaRPr lang="es-EC"/>
        </a:p>
      </dgm:t>
    </dgm:pt>
    <dgm:pt modelId="{73E38DBB-EBEF-4BCF-9311-1B9A4E4E913A}" type="sibTrans" cxnId="{A6E632B0-8468-4915-85B6-364A57E2BC76}">
      <dgm:prSet/>
      <dgm:spPr/>
      <dgm:t>
        <a:bodyPr/>
        <a:lstStyle/>
        <a:p>
          <a:endParaRPr lang="es-EC"/>
        </a:p>
      </dgm:t>
    </dgm:pt>
    <dgm:pt modelId="{C28DDC71-339D-42CE-8E4F-476FDC32D517}">
      <dgm:prSet phldrT="[Texto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Ecosystem - Environmental Services</a:t>
          </a:r>
          <a:endParaRPr lang="es-EC" dirty="0"/>
        </a:p>
      </dgm:t>
    </dgm:pt>
    <dgm:pt modelId="{004A8612-8AAE-44AB-A575-84630B98B65A}" type="parTrans" cxnId="{7DD0F448-3A50-4F54-B1B2-175D6D27C5D1}">
      <dgm:prSet/>
      <dgm:spPr/>
      <dgm:t>
        <a:bodyPr/>
        <a:lstStyle/>
        <a:p>
          <a:endParaRPr lang="es-EC"/>
        </a:p>
      </dgm:t>
    </dgm:pt>
    <dgm:pt modelId="{2F37277A-BCD7-4C53-81B0-DBF6F0C98291}" type="sibTrans" cxnId="{7DD0F448-3A50-4F54-B1B2-175D6D27C5D1}">
      <dgm:prSet/>
      <dgm:spPr/>
      <dgm:t>
        <a:bodyPr/>
        <a:lstStyle/>
        <a:p>
          <a:endParaRPr lang="es-EC"/>
        </a:p>
      </dgm:t>
    </dgm:pt>
    <dgm:pt modelId="{1A10A438-AF56-4E8F-A09F-D6ED4A21B497}">
      <dgm:prSet phldrT="[Texto]"/>
      <dgm:spPr/>
      <dgm:t>
        <a:bodyPr/>
        <a:lstStyle/>
        <a:p>
          <a:r>
            <a:rPr lang="en-US" b="1" dirty="0" smtClean="0">
              <a:solidFill>
                <a:schemeClr val="tx1"/>
              </a:solidFill>
            </a:rPr>
            <a:t>Environmental Quality</a:t>
          </a:r>
          <a:endParaRPr lang="es-EC" dirty="0"/>
        </a:p>
      </dgm:t>
    </dgm:pt>
    <dgm:pt modelId="{2761CA90-0A65-4B91-BC4D-6FD514651CE5}" type="parTrans" cxnId="{7F22EDB0-D43A-4CDD-B75B-CA7BA1348622}">
      <dgm:prSet/>
      <dgm:spPr/>
      <dgm:t>
        <a:bodyPr/>
        <a:lstStyle/>
        <a:p>
          <a:endParaRPr lang="es-EC"/>
        </a:p>
      </dgm:t>
    </dgm:pt>
    <dgm:pt modelId="{1D0C8345-0E7E-416F-BD95-E3877FF8D860}" type="sibTrans" cxnId="{7F22EDB0-D43A-4CDD-B75B-CA7BA1348622}">
      <dgm:prSet/>
      <dgm:spPr/>
      <dgm:t>
        <a:bodyPr/>
        <a:lstStyle/>
        <a:p>
          <a:endParaRPr lang="es-EC"/>
        </a:p>
      </dgm:t>
    </dgm:pt>
    <dgm:pt modelId="{16A10D34-A0B4-438A-8619-A47BFB86DF82}" type="pres">
      <dgm:prSet presAssocID="{0AF909FE-895A-4B90-A43B-1CD9453412F7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EC"/>
        </a:p>
      </dgm:t>
    </dgm:pt>
    <dgm:pt modelId="{AE051421-63D3-4C15-BA99-D819D19476D3}" type="pres">
      <dgm:prSet presAssocID="{0AF909FE-895A-4B90-A43B-1CD9453412F7}" presName="hierFlow" presStyleCnt="0"/>
      <dgm:spPr/>
    </dgm:pt>
    <dgm:pt modelId="{3BB3F16C-DBC3-4F18-A390-00F04B2ABEA6}" type="pres">
      <dgm:prSet presAssocID="{0AF909FE-895A-4B90-A43B-1CD9453412F7}" presName="firstBuf" presStyleCnt="0"/>
      <dgm:spPr/>
    </dgm:pt>
    <dgm:pt modelId="{90F4288D-55DF-4531-AEA3-88CBECAE45A9}" type="pres">
      <dgm:prSet presAssocID="{0AF909FE-895A-4B90-A43B-1CD9453412F7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01BBE557-596A-4F37-96DA-947F799664A1}" type="pres">
      <dgm:prSet presAssocID="{9C7C0326-0BB6-43C7-B535-03AB80BF895A}" presName="Name14" presStyleCnt="0"/>
      <dgm:spPr/>
    </dgm:pt>
    <dgm:pt modelId="{F118FA27-96E5-4600-9B24-1D9D19664C0E}" type="pres">
      <dgm:prSet presAssocID="{9C7C0326-0BB6-43C7-B535-03AB80BF895A}" presName="level1Shape" presStyleLbl="node0" presStyleIdx="0" presStyleCnt="1" custLinFactX="-1731" custLinFactNeighborX="-10000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C25FE022-E233-495F-914C-30A24E4BD713}" type="pres">
      <dgm:prSet presAssocID="{9C7C0326-0BB6-43C7-B535-03AB80BF895A}" presName="hierChild2" presStyleCnt="0"/>
      <dgm:spPr/>
    </dgm:pt>
    <dgm:pt modelId="{6F2D470C-4D9C-4299-8035-098219AB9C7C}" type="pres">
      <dgm:prSet presAssocID="{DB33C3E1-6BA6-49D5-ACFC-B2BB932C65DE}" presName="Name19" presStyleLbl="parChTrans1D2" presStyleIdx="0" presStyleCnt="1"/>
      <dgm:spPr/>
      <dgm:t>
        <a:bodyPr/>
        <a:lstStyle/>
        <a:p>
          <a:endParaRPr lang="es-EC"/>
        </a:p>
      </dgm:t>
    </dgm:pt>
    <dgm:pt modelId="{81D2EEED-8970-49F8-9CBA-3056E598F30D}" type="pres">
      <dgm:prSet presAssocID="{A49C5C4B-85BD-461D-8940-D64490E56818}" presName="Name21" presStyleCnt="0"/>
      <dgm:spPr/>
    </dgm:pt>
    <dgm:pt modelId="{04B7EC9F-50F5-4D84-98CD-25AF9D25DCC5}" type="pres">
      <dgm:prSet presAssocID="{A49C5C4B-85BD-461D-8940-D64490E56818}" presName="level2Shape" presStyleLbl="node2" presStyleIdx="0" presStyleCnt="1"/>
      <dgm:spPr/>
      <dgm:t>
        <a:bodyPr/>
        <a:lstStyle/>
        <a:p>
          <a:endParaRPr lang="es-EC"/>
        </a:p>
      </dgm:t>
    </dgm:pt>
    <dgm:pt modelId="{87826F1F-6EF7-4251-BC2D-B8F2B1DFECC2}" type="pres">
      <dgm:prSet presAssocID="{A49C5C4B-85BD-461D-8940-D64490E56818}" presName="hierChild3" presStyleCnt="0"/>
      <dgm:spPr/>
    </dgm:pt>
    <dgm:pt modelId="{D97E0A21-CE1D-44F4-AE5B-A45E0721C9CA}" type="pres">
      <dgm:prSet presAssocID="{D8CB81B6-F69B-47C9-8F8B-9D6E476B6C9B}" presName="Name19" presStyleLbl="parChTrans1D3" presStyleIdx="0" presStyleCnt="2"/>
      <dgm:spPr/>
      <dgm:t>
        <a:bodyPr/>
        <a:lstStyle/>
        <a:p>
          <a:endParaRPr lang="es-EC"/>
        </a:p>
      </dgm:t>
    </dgm:pt>
    <dgm:pt modelId="{FB7509BC-2EA3-4618-A28B-DA38F560F1E1}" type="pres">
      <dgm:prSet presAssocID="{5022CB79-81BF-4481-8920-020DBFB8ADBA}" presName="Name21" presStyleCnt="0"/>
      <dgm:spPr/>
    </dgm:pt>
    <dgm:pt modelId="{5634D858-9E70-4936-A38D-E7F381B7AB20}" type="pres">
      <dgm:prSet presAssocID="{5022CB79-81BF-4481-8920-020DBFB8ADBA}" presName="level2Shape" presStyleLbl="node3" presStyleIdx="0" presStyleCnt="2"/>
      <dgm:spPr/>
      <dgm:t>
        <a:bodyPr/>
        <a:lstStyle/>
        <a:p>
          <a:endParaRPr lang="es-EC"/>
        </a:p>
      </dgm:t>
    </dgm:pt>
    <dgm:pt modelId="{FEA3AF48-7CFE-4B7A-969D-7897B952635A}" type="pres">
      <dgm:prSet presAssocID="{5022CB79-81BF-4481-8920-020DBFB8ADBA}" presName="hierChild3" presStyleCnt="0"/>
      <dgm:spPr/>
    </dgm:pt>
    <dgm:pt modelId="{D1C564EA-7344-4C21-909E-AEF53C23B2F1}" type="pres">
      <dgm:prSet presAssocID="{9CD6E60D-1C40-42EE-BAF2-9C9A95FB7EB6}" presName="Name19" presStyleLbl="parChTrans1D3" presStyleIdx="1" presStyleCnt="2"/>
      <dgm:spPr/>
      <dgm:t>
        <a:bodyPr/>
        <a:lstStyle/>
        <a:p>
          <a:endParaRPr lang="es-EC"/>
        </a:p>
      </dgm:t>
    </dgm:pt>
    <dgm:pt modelId="{A5505CC1-D0AD-4400-BDE3-C23993F0A9D4}" type="pres">
      <dgm:prSet presAssocID="{76E19C94-F2A1-4CC0-8B5A-0BEF525C4AC8}" presName="Name21" presStyleCnt="0"/>
      <dgm:spPr/>
    </dgm:pt>
    <dgm:pt modelId="{21BB10F0-5D6D-4DB3-8682-A8ECBD30A512}" type="pres">
      <dgm:prSet presAssocID="{76E19C94-F2A1-4CC0-8B5A-0BEF525C4AC8}" presName="level2Shape" presStyleLbl="node3" presStyleIdx="1" presStyleCnt="2"/>
      <dgm:spPr/>
      <dgm:t>
        <a:bodyPr/>
        <a:lstStyle/>
        <a:p>
          <a:endParaRPr lang="es-EC"/>
        </a:p>
      </dgm:t>
    </dgm:pt>
    <dgm:pt modelId="{A62F1C68-9428-41CC-90C8-7872A6310EAF}" type="pres">
      <dgm:prSet presAssocID="{76E19C94-F2A1-4CC0-8B5A-0BEF525C4AC8}" presName="hierChild3" presStyleCnt="0"/>
      <dgm:spPr/>
    </dgm:pt>
    <dgm:pt modelId="{B56D9D64-FE9F-41D5-977A-DAB032579A85}" type="pres">
      <dgm:prSet presAssocID="{0AF909FE-895A-4B90-A43B-1CD9453412F7}" presName="bgShapesFlow" presStyleCnt="0"/>
      <dgm:spPr/>
    </dgm:pt>
    <dgm:pt modelId="{4C851676-0009-4557-8DED-975F4EB5DE6F}" type="pres">
      <dgm:prSet presAssocID="{27D37576-F0B3-420F-BBD0-EB773C7C2119}" presName="rectComp" presStyleCnt="0"/>
      <dgm:spPr/>
    </dgm:pt>
    <dgm:pt modelId="{69BA99A0-05B7-42C8-ABAF-5B4CB0467C57}" type="pres">
      <dgm:prSet presAssocID="{27D37576-F0B3-420F-BBD0-EB773C7C2119}" presName="bgRect" presStyleLbl="bgShp" presStyleIdx="0" presStyleCnt="3"/>
      <dgm:spPr/>
      <dgm:t>
        <a:bodyPr/>
        <a:lstStyle/>
        <a:p>
          <a:endParaRPr lang="es-EC"/>
        </a:p>
      </dgm:t>
    </dgm:pt>
    <dgm:pt modelId="{E345902B-390C-4B9E-AEE4-4175034FAA4D}" type="pres">
      <dgm:prSet presAssocID="{27D37576-F0B3-420F-BBD0-EB773C7C2119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E2A26BD-89A2-4240-BFA4-64E3EED4D909}" type="pres">
      <dgm:prSet presAssocID="{27D37576-F0B3-420F-BBD0-EB773C7C2119}" presName="spComp" presStyleCnt="0"/>
      <dgm:spPr/>
    </dgm:pt>
    <dgm:pt modelId="{320E9B08-6B41-43BD-B20A-C231758D1065}" type="pres">
      <dgm:prSet presAssocID="{27D37576-F0B3-420F-BBD0-EB773C7C2119}" presName="vSp" presStyleCnt="0"/>
      <dgm:spPr/>
    </dgm:pt>
    <dgm:pt modelId="{3137298B-96BE-44C4-BA0D-6B015517E61F}" type="pres">
      <dgm:prSet presAssocID="{C28DDC71-339D-42CE-8E4F-476FDC32D517}" presName="rectComp" presStyleCnt="0"/>
      <dgm:spPr/>
    </dgm:pt>
    <dgm:pt modelId="{18161ABD-C08C-49FF-9409-730760630627}" type="pres">
      <dgm:prSet presAssocID="{C28DDC71-339D-42CE-8E4F-476FDC32D517}" presName="bgRect" presStyleLbl="bgShp" presStyleIdx="1" presStyleCnt="3"/>
      <dgm:spPr/>
      <dgm:t>
        <a:bodyPr/>
        <a:lstStyle/>
        <a:p>
          <a:endParaRPr lang="es-EC"/>
        </a:p>
      </dgm:t>
    </dgm:pt>
    <dgm:pt modelId="{35F3422E-D983-4B3A-A26F-843797835580}" type="pres">
      <dgm:prSet presAssocID="{C28DDC71-339D-42CE-8E4F-476FDC32D517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85EF7BC-5663-4640-8CCC-6413EE0039B9}" type="pres">
      <dgm:prSet presAssocID="{C28DDC71-339D-42CE-8E4F-476FDC32D517}" presName="spComp" presStyleCnt="0"/>
      <dgm:spPr/>
    </dgm:pt>
    <dgm:pt modelId="{21EFDB02-C751-4B4C-B6E8-2354C8CFC7A7}" type="pres">
      <dgm:prSet presAssocID="{C28DDC71-339D-42CE-8E4F-476FDC32D517}" presName="vSp" presStyleCnt="0"/>
      <dgm:spPr/>
    </dgm:pt>
    <dgm:pt modelId="{475305CF-D29B-46E1-8798-98ACBA91A5B9}" type="pres">
      <dgm:prSet presAssocID="{1A10A438-AF56-4E8F-A09F-D6ED4A21B497}" presName="rectComp" presStyleCnt="0"/>
      <dgm:spPr/>
    </dgm:pt>
    <dgm:pt modelId="{80D4ECEE-FE21-4E66-9EE1-CA24AC210DE3}" type="pres">
      <dgm:prSet presAssocID="{1A10A438-AF56-4E8F-A09F-D6ED4A21B497}" presName="bgRect" presStyleLbl="bgShp" presStyleIdx="2" presStyleCnt="3"/>
      <dgm:spPr/>
      <dgm:t>
        <a:bodyPr/>
        <a:lstStyle/>
        <a:p>
          <a:endParaRPr lang="es-EC"/>
        </a:p>
      </dgm:t>
    </dgm:pt>
    <dgm:pt modelId="{EF42881C-7AA9-478C-82F1-0287A83033B4}" type="pres">
      <dgm:prSet presAssocID="{1A10A438-AF56-4E8F-A09F-D6ED4A21B497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216C9CC5-2C29-4DD4-A6BB-4C9627A78A76}" type="presOf" srcId="{DB33C3E1-6BA6-49D5-ACFC-B2BB932C65DE}" destId="{6F2D470C-4D9C-4299-8035-098219AB9C7C}" srcOrd="0" destOrd="0" presId="urn:microsoft.com/office/officeart/2005/8/layout/hierarchy6"/>
    <dgm:cxn modelId="{B350E697-447C-4A9A-BBD9-091800B13451}" type="presOf" srcId="{9C7C0326-0BB6-43C7-B535-03AB80BF895A}" destId="{F118FA27-96E5-4600-9B24-1D9D19664C0E}" srcOrd="0" destOrd="0" presId="urn:microsoft.com/office/officeart/2005/8/layout/hierarchy6"/>
    <dgm:cxn modelId="{B2AC16E9-8090-4161-B555-93DB93B91176}" type="presOf" srcId="{C28DDC71-339D-42CE-8E4F-476FDC32D517}" destId="{35F3422E-D983-4B3A-A26F-843797835580}" srcOrd="1" destOrd="0" presId="urn:microsoft.com/office/officeart/2005/8/layout/hierarchy6"/>
    <dgm:cxn modelId="{7F22EDB0-D43A-4CDD-B75B-CA7BA1348622}" srcId="{0AF909FE-895A-4B90-A43B-1CD9453412F7}" destId="{1A10A438-AF56-4E8F-A09F-D6ED4A21B497}" srcOrd="3" destOrd="0" parTransId="{2761CA90-0A65-4B91-BC4D-6FD514651CE5}" sibTransId="{1D0C8345-0E7E-416F-BD95-E3877FF8D860}"/>
    <dgm:cxn modelId="{F448342A-1CAF-46D1-B6F8-3B5AD790D204}" type="presOf" srcId="{C28DDC71-339D-42CE-8E4F-476FDC32D517}" destId="{18161ABD-C08C-49FF-9409-730760630627}" srcOrd="0" destOrd="0" presId="urn:microsoft.com/office/officeart/2005/8/layout/hierarchy6"/>
    <dgm:cxn modelId="{7DD0F448-3A50-4F54-B1B2-175D6D27C5D1}" srcId="{0AF909FE-895A-4B90-A43B-1CD9453412F7}" destId="{C28DDC71-339D-42CE-8E4F-476FDC32D517}" srcOrd="2" destOrd="0" parTransId="{004A8612-8AAE-44AB-A575-84630B98B65A}" sibTransId="{2F37277A-BCD7-4C53-81B0-DBF6F0C98291}"/>
    <dgm:cxn modelId="{C4ADE857-A0EA-4769-AF3A-54CAEB4C7D69}" type="presOf" srcId="{27D37576-F0B3-420F-BBD0-EB773C7C2119}" destId="{E345902B-390C-4B9E-AEE4-4175034FAA4D}" srcOrd="1" destOrd="0" presId="urn:microsoft.com/office/officeart/2005/8/layout/hierarchy6"/>
    <dgm:cxn modelId="{B4D17E6D-902E-4B5B-8C11-FA2396B03613}" type="presOf" srcId="{0AF909FE-895A-4B90-A43B-1CD9453412F7}" destId="{16A10D34-A0B4-438A-8619-A47BFB86DF82}" srcOrd="0" destOrd="0" presId="urn:microsoft.com/office/officeart/2005/8/layout/hierarchy6"/>
    <dgm:cxn modelId="{A6852B27-C2A6-43CE-9409-5A8FB60FA7CD}" type="presOf" srcId="{A49C5C4B-85BD-461D-8940-D64490E56818}" destId="{04B7EC9F-50F5-4D84-98CD-25AF9D25DCC5}" srcOrd="0" destOrd="0" presId="urn:microsoft.com/office/officeart/2005/8/layout/hierarchy6"/>
    <dgm:cxn modelId="{353F36D8-2C57-4FF2-A4A7-CE532A500725}" type="presOf" srcId="{D8CB81B6-F69B-47C9-8F8B-9D6E476B6C9B}" destId="{D97E0A21-CE1D-44F4-AE5B-A45E0721C9CA}" srcOrd="0" destOrd="0" presId="urn:microsoft.com/office/officeart/2005/8/layout/hierarchy6"/>
    <dgm:cxn modelId="{C08645E1-3473-409C-99E3-5E392C91FC3E}" type="presOf" srcId="{9CD6E60D-1C40-42EE-BAF2-9C9A95FB7EB6}" destId="{D1C564EA-7344-4C21-909E-AEF53C23B2F1}" srcOrd="0" destOrd="0" presId="urn:microsoft.com/office/officeart/2005/8/layout/hierarchy6"/>
    <dgm:cxn modelId="{A6E632B0-8468-4915-85B6-364A57E2BC76}" srcId="{0AF909FE-895A-4B90-A43B-1CD9453412F7}" destId="{27D37576-F0B3-420F-BBD0-EB773C7C2119}" srcOrd="1" destOrd="0" parTransId="{4C335B00-91DE-464C-AB23-4B2AF19925FC}" sibTransId="{73E38DBB-EBEF-4BCF-9311-1B9A4E4E913A}"/>
    <dgm:cxn modelId="{0F686D31-AFEF-48DD-A598-388DAED39766}" type="presOf" srcId="{5022CB79-81BF-4481-8920-020DBFB8ADBA}" destId="{5634D858-9E70-4936-A38D-E7F381B7AB20}" srcOrd="0" destOrd="0" presId="urn:microsoft.com/office/officeart/2005/8/layout/hierarchy6"/>
    <dgm:cxn modelId="{5D7B7DC4-3FD8-47D8-A4A0-23BCBE1D4DDE}" srcId="{0AF909FE-895A-4B90-A43B-1CD9453412F7}" destId="{9C7C0326-0BB6-43C7-B535-03AB80BF895A}" srcOrd="0" destOrd="0" parTransId="{95A7878B-AC5E-40EE-89CC-19589397B557}" sibTransId="{10544DA1-6295-4343-BBC2-1C7953D23D83}"/>
    <dgm:cxn modelId="{B90262FB-7A8C-41CA-BC32-AC5429C27432}" type="presOf" srcId="{76E19C94-F2A1-4CC0-8B5A-0BEF525C4AC8}" destId="{21BB10F0-5D6D-4DB3-8682-A8ECBD30A512}" srcOrd="0" destOrd="0" presId="urn:microsoft.com/office/officeart/2005/8/layout/hierarchy6"/>
    <dgm:cxn modelId="{B26D887E-1727-4DDC-AD8C-CC16F3839145}" type="presOf" srcId="{1A10A438-AF56-4E8F-A09F-D6ED4A21B497}" destId="{EF42881C-7AA9-478C-82F1-0287A83033B4}" srcOrd="1" destOrd="0" presId="urn:microsoft.com/office/officeart/2005/8/layout/hierarchy6"/>
    <dgm:cxn modelId="{8D5CE70D-CBB2-4B9F-950B-34C1B02F2B62}" srcId="{9C7C0326-0BB6-43C7-B535-03AB80BF895A}" destId="{A49C5C4B-85BD-461D-8940-D64490E56818}" srcOrd="0" destOrd="0" parTransId="{DB33C3E1-6BA6-49D5-ACFC-B2BB932C65DE}" sibTransId="{18A5E1A2-E77B-4A8D-950E-8A0F4D922882}"/>
    <dgm:cxn modelId="{695E9657-DE6A-49A1-945A-B164F42AA216}" type="presOf" srcId="{27D37576-F0B3-420F-BBD0-EB773C7C2119}" destId="{69BA99A0-05B7-42C8-ABAF-5B4CB0467C57}" srcOrd="0" destOrd="0" presId="urn:microsoft.com/office/officeart/2005/8/layout/hierarchy6"/>
    <dgm:cxn modelId="{1E4141C9-8885-417A-BA32-0287DAE2F840}" type="presOf" srcId="{1A10A438-AF56-4E8F-A09F-D6ED4A21B497}" destId="{80D4ECEE-FE21-4E66-9EE1-CA24AC210DE3}" srcOrd="0" destOrd="0" presId="urn:microsoft.com/office/officeart/2005/8/layout/hierarchy6"/>
    <dgm:cxn modelId="{2E4F8F99-8C03-45F6-A8E6-66811948C525}" srcId="{A49C5C4B-85BD-461D-8940-D64490E56818}" destId="{5022CB79-81BF-4481-8920-020DBFB8ADBA}" srcOrd="0" destOrd="0" parTransId="{D8CB81B6-F69B-47C9-8F8B-9D6E476B6C9B}" sibTransId="{A7DC108A-5F0E-45B1-888B-0C00AD9D021C}"/>
    <dgm:cxn modelId="{C532FCA0-F217-464F-9CD8-3CC839C28A6F}" srcId="{A49C5C4B-85BD-461D-8940-D64490E56818}" destId="{76E19C94-F2A1-4CC0-8B5A-0BEF525C4AC8}" srcOrd="1" destOrd="0" parTransId="{9CD6E60D-1C40-42EE-BAF2-9C9A95FB7EB6}" sibTransId="{01988BA7-2636-4B28-9881-F4F36C19E6FA}"/>
    <dgm:cxn modelId="{A9B0C209-5AA0-47F0-90B1-2CD95506F898}" type="presParOf" srcId="{16A10D34-A0B4-438A-8619-A47BFB86DF82}" destId="{AE051421-63D3-4C15-BA99-D819D19476D3}" srcOrd="0" destOrd="0" presId="urn:microsoft.com/office/officeart/2005/8/layout/hierarchy6"/>
    <dgm:cxn modelId="{48FF9151-52D8-412C-BD35-1F997A2BA8F8}" type="presParOf" srcId="{AE051421-63D3-4C15-BA99-D819D19476D3}" destId="{3BB3F16C-DBC3-4F18-A390-00F04B2ABEA6}" srcOrd="0" destOrd="0" presId="urn:microsoft.com/office/officeart/2005/8/layout/hierarchy6"/>
    <dgm:cxn modelId="{D99D0E8B-1D79-4A1B-9E3C-854F72F08B0A}" type="presParOf" srcId="{AE051421-63D3-4C15-BA99-D819D19476D3}" destId="{90F4288D-55DF-4531-AEA3-88CBECAE45A9}" srcOrd="1" destOrd="0" presId="urn:microsoft.com/office/officeart/2005/8/layout/hierarchy6"/>
    <dgm:cxn modelId="{B13897A8-79FB-41AA-B8A3-0A4FC117AFC8}" type="presParOf" srcId="{90F4288D-55DF-4531-AEA3-88CBECAE45A9}" destId="{01BBE557-596A-4F37-96DA-947F799664A1}" srcOrd="0" destOrd="0" presId="urn:microsoft.com/office/officeart/2005/8/layout/hierarchy6"/>
    <dgm:cxn modelId="{2584E1D3-8C76-4EA0-B7D4-D3AD17F2066A}" type="presParOf" srcId="{01BBE557-596A-4F37-96DA-947F799664A1}" destId="{F118FA27-96E5-4600-9B24-1D9D19664C0E}" srcOrd="0" destOrd="0" presId="urn:microsoft.com/office/officeart/2005/8/layout/hierarchy6"/>
    <dgm:cxn modelId="{70FD2236-2FA1-43BF-BC50-6DBBC200EE9F}" type="presParOf" srcId="{01BBE557-596A-4F37-96DA-947F799664A1}" destId="{C25FE022-E233-495F-914C-30A24E4BD713}" srcOrd="1" destOrd="0" presId="urn:microsoft.com/office/officeart/2005/8/layout/hierarchy6"/>
    <dgm:cxn modelId="{D87B35F5-83C0-4763-A9C7-EE4F09F91372}" type="presParOf" srcId="{C25FE022-E233-495F-914C-30A24E4BD713}" destId="{6F2D470C-4D9C-4299-8035-098219AB9C7C}" srcOrd="0" destOrd="0" presId="urn:microsoft.com/office/officeart/2005/8/layout/hierarchy6"/>
    <dgm:cxn modelId="{52E48386-8F2B-4F1D-8950-A6A91060D7B8}" type="presParOf" srcId="{C25FE022-E233-495F-914C-30A24E4BD713}" destId="{81D2EEED-8970-49F8-9CBA-3056E598F30D}" srcOrd="1" destOrd="0" presId="urn:microsoft.com/office/officeart/2005/8/layout/hierarchy6"/>
    <dgm:cxn modelId="{D2805550-07DE-4B4A-9355-105A62B02A6A}" type="presParOf" srcId="{81D2EEED-8970-49F8-9CBA-3056E598F30D}" destId="{04B7EC9F-50F5-4D84-98CD-25AF9D25DCC5}" srcOrd="0" destOrd="0" presId="urn:microsoft.com/office/officeart/2005/8/layout/hierarchy6"/>
    <dgm:cxn modelId="{A7B95960-636C-49F3-88BB-C8EBA12A22D9}" type="presParOf" srcId="{81D2EEED-8970-49F8-9CBA-3056E598F30D}" destId="{87826F1F-6EF7-4251-BC2D-B8F2B1DFECC2}" srcOrd="1" destOrd="0" presId="urn:microsoft.com/office/officeart/2005/8/layout/hierarchy6"/>
    <dgm:cxn modelId="{297F823F-24A3-49A0-B8AA-A13652A2A26C}" type="presParOf" srcId="{87826F1F-6EF7-4251-BC2D-B8F2B1DFECC2}" destId="{D97E0A21-CE1D-44F4-AE5B-A45E0721C9CA}" srcOrd="0" destOrd="0" presId="urn:microsoft.com/office/officeart/2005/8/layout/hierarchy6"/>
    <dgm:cxn modelId="{A37A4ED8-F1C5-4CF0-984E-FCE292104B01}" type="presParOf" srcId="{87826F1F-6EF7-4251-BC2D-B8F2B1DFECC2}" destId="{FB7509BC-2EA3-4618-A28B-DA38F560F1E1}" srcOrd="1" destOrd="0" presId="urn:microsoft.com/office/officeart/2005/8/layout/hierarchy6"/>
    <dgm:cxn modelId="{FD07D036-868A-45C0-AEFB-88603F42E15B}" type="presParOf" srcId="{FB7509BC-2EA3-4618-A28B-DA38F560F1E1}" destId="{5634D858-9E70-4936-A38D-E7F381B7AB20}" srcOrd="0" destOrd="0" presId="urn:microsoft.com/office/officeart/2005/8/layout/hierarchy6"/>
    <dgm:cxn modelId="{B7D37359-9795-47B1-ACF2-A820150186DA}" type="presParOf" srcId="{FB7509BC-2EA3-4618-A28B-DA38F560F1E1}" destId="{FEA3AF48-7CFE-4B7A-969D-7897B952635A}" srcOrd="1" destOrd="0" presId="urn:microsoft.com/office/officeart/2005/8/layout/hierarchy6"/>
    <dgm:cxn modelId="{27F190E5-4DE2-48D0-B6E1-3858E35B6E8A}" type="presParOf" srcId="{87826F1F-6EF7-4251-BC2D-B8F2B1DFECC2}" destId="{D1C564EA-7344-4C21-909E-AEF53C23B2F1}" srcOrd="2" destOrd="0" presId="urn:microsoft.com/office/officeart/2005/8/layout/hierarchy6"/>
    <dgm:cxn modelId="{B2CA0E2C-8318-4FEF-BD38-E7C176A0A2ED}" type="presParOf" srcId="{87826F1F-6EF7-4251-BC2D-B8F2B1DFECC2}" destId="{A5505CC1-D0AD-4400-BDE3-C23993F0A9D4}" srcOrd="3" destOrd="0" presId="urn:microsoft.com/office/officeart/2005/8/layout/hierarchy6"/>
    <dgm:cxn modelId="{C9A80FA5-B185-41E4-9F0D-5D7A11C0DB91}" type="presParOf" srcId="{A5505CC1-D0AD-4400-BDE3-C23993F0A9D4}" destId="{21BB10F0-5D6D-4DB3-8682-A8ECBD30A512}" srcOrd="0" destOrd="0" presId="urn:microsoft.com/office/officeart/2005/8/layout/hierarchy6"/>
    <dgm:cxn modelId="{9F2C134A-B531-4F7B-B383-1A56EA850807}" type="presParOf" srcId="{A5505CC1-D0AD-4400-BDE3-C23993F0A9D4}" destId="{A62F1C68-9428-41CC-90C8-7872A6310EAF}" srcOrd="1" destOrd="0" presId="urn:microsoft.com/office/officeart/2005/8/layout/hierarchy6"/>
    <dgm:cxn modelId="{0B40ED84-2048-4ADE-B067-6A3566B19A41}" type="presParOf" srcId="{16A10D34-A0B4-438A-8619-A47BFB86DF82}" destId="{B56D9D64-FE9F-41D5-977A-DAB032579A85}" srcOrd="1" destOrd="0" presId="urn:microsoft.com/office/officeart/2005/8/layout/hierarchy6"/>
    <dgm:cxn modelId="{87200DC4-703A-4974-9DA9-7CE50DCD6601}" type="presParOf" srcId="{B56D9D64-FE9F-41D5-977A-DAB032579A85}" destId="{4C851676-0009-4557-8DED-975F4EB5DE6F}" srcOrd="0" destOrd="0" presId="urn:microsoft.com/office/officeart/2005/8/layout/hierarchy6"/>
    <dgm:cxn modelId="{E2FC7C56-44AA-4B0B-A1EE-6FA012DF5CE7}" type="presParOf" srcId="{4C851676-0009-4557-8DED-975F4EB5DE6F}" destId="{69BA99A0-05B7-42C8-ABAF-5B4CB0467C57}" srcOrd="0" destOrd="0" presId="urn:microsoft.com/office/officeart/2005/8/layout/hierarchy6"/>
    <dgm:cxn modelId="{D2BE5B6B-90B1-48A1-8263-4B35AC4AB969}" type="presParOf" srcId="{4C851676-0009-4557-8DED-975F4EB5DE6F}" destId="{E345902B-390C-4B9E-AEE4-4175034FAA4D}" srcOrd="1" destOrd="0" presId="urn:microsoft.com/office/officeart/2005/8/layout/hierarchy6"/>
    <dgm:cxn modelId="{E143E0FF-F1DA-42EC-8F86-8DA03F8EFCCD}" type="presParOf" srcId="{B56D9D64-FE9F-41D5-977A-DAB032579A85}" destId="{7E2A26BD-89A2-4240-BFA4-64E3EED4D909}" srcOrd="1" destOrd="0" presId="urn:microsoft.com/office/officeart/2005/8/layout/hierarchy6"/>
    <dgm:cxn modelId="{68699336-5DCD-453E-9669-5A2A4385E5C9}" type="presParOf" srcId="{7E2A26BD-89A2-4240-BFA4-64E3EED4D909}" destId="{320E9B08-6B41-43BD-B20A-C231758D1065}" srcOrd="0" destOrd="0" presId="urn:microsoft.com/office/officeart/2005/8/layout/hierarchy6"/>
    <dgm:cxn modelId="{510ADEBE-192D-47A8-8789-75BA14EC57EC}" type="presParOf" srcId="{B56D9D64-FE9F-41D5-977A-DAB032579A85}" destId="{3137298B-96BE-44C4-BA0D-6B015517E61F}" srcOrd="2" destOrd="0" presId="urn:microsoft.com/office/officeart/2005/8/layout/hierarchy6"/>
    <dgm:cxn modelId="{31C2EABD-3848-4723-887D-9B1B8ACD17AB}" type="presParOf" srcId="{3137298B-96BE-44C4-BA0D-6B015517E61F}" destId="{18161ABD-C08C-49FF-9409-730760630627}" srcOrd="0" destOrd="0" presId="urn:microsoft.com/office/officeart/2005/8/layout/hierarchy6"/>
    <dgm:cxn modelId="{A70CE9DF-6A81-4B05-AD31-51A94DF513A0}" type="presParOf" srcId="{3137298B-96BE-44C4-BA0D-6B015517E61F}" destId="{35F3422E-D983-4B3A-A26F-843797835580}" srcOrd="1" destOrd="0" presId="urn:microsoft.com/office/officeart/2005/8/layout/hierarchy6"/>
    <dgm:cxn modelId="{F83C4B68-E5FD-422C-AC63-911B96ED80ED}" type="presParOf" srcId="{B56D9D64-FE9F-41D5-977A-DAB032579A85}" destId="{785EF7BC-5663-4640-8CCC-6413EE0039B9}" srcOrd="3" destOrd="0" presId="urn:microsoft.com/office/officeart/2005/8/layout/hierarchy6"/>
    <dgm:cxn modelId="{650250F2-F192-4F54-824B-463197869BE2}" type="presParOf" srcId="{785EF7BC-5663-4640-8CCC-6413EE0039B9}" destId="{21EFDB02-C751-4B4C-B6E8-2354C8CFC7A7}" srcOrd="0" destOrd="0" presId="urn:microsoft.com/office/officeart/2005/8/layout/hierarchy6"/>
    <dgm:cxn modelId="{6373944D-95D5-4CD3-8AD9-DFA64287B18F}" type="presParOf" srcId="{B56D9D64-FE9F-41D5-977A-DAB032579A85}" destId="{475305CF-D29B-46E1-8798-98ACBA91A5B9}" srcOrd="4" destOrd="0" presId="urn:microsoft.com/office/officeart/2005/8/layout/hierarchy6"/>
    <dgm:cxn modelId="{75DC6F12-2C63-4B2C-8D5E-5D80801DD21A}" type="presParOf" srcId="{475305CF-D29B-46E1-8798-98ACBA91A5B9}" destId="{80D4ECEE-FE21-4E66-9EE1-CA24AC210DE3}" srcOrd="0" destOrd="0" presId="urn:microsoft.com/office/officeart/2005/8/layout/hierarchy6"/>
    <dgm:cxn modelId="{3B3FFC5E-3EE3-4224-947D-3611582B4A3A}" type="presParOf" srcId="{475305CF-D29B-46E1-8798-98ACBA91A5B9}" destId="{EF42881C-7AA9-478C-82F1-0287A83033B4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B264A80-026A-4C3A-BAA7-201C80804B6D}" type="doc">
      <dgm:prSet loTypeId="urn:microsoft.com/office/officeart/2005/8/layout/vList6" loCatId="process" qsTypeId="urn:microsoft.com/office/officeart/2005/8/quickstyle/3d1" qsCatId="3D" csTypeId="urn:microsoft.com/office/officeart/2005/8/colors/accent3_4" csCatId="accent3" phldr="1"/>
      <dgm:spPr/>
      <dgm:t>
        <a:bodyPr/>
        <a:lstStyle/>
        <a:p>
          <a:endParaRPr lang="es-EC"/>
        </a:p>
      </dgm:t>
    </dgm:pt>
    <dgm:pt modelId="{DF2963F3-FA69-47D3-9C13-B6597CC7911E}">
      <dgm:prSet phldrT="[Texto]" custT="1"/>
      <dgm:spPr/>
      <dgm:t>
        <a:bodyPr/>
        <a:lstStyle/>
        <a:p>
          <a:r>
            <a:rPr lang="es-EC" sz="4000" dirty="0" err="1" smtClean="0"/>
            <a:t>Planning</a:t>
          </a:r>
          <a:endParaRPr lang="es-EC" sz="4000" dirty="0"/>
        </a:p>
      </dgm:t>
    </dgm:pt>
    <dgm:pt modelId="{D87387C4-BD45-4FFF-AC15-A464C2CDFE24}" type="parTrans" cxnId="{31A5E686-0CAE-4CA2-BA31-029000ED1FC5}">
      <dgm:prSet/>
      <dgm:spPr/>
      <dgm:t>
        <a:bodyPr/>
        <a:lstStyle/>
        <a:p>
          <a:endParaRPr lang="es-EC"/>
        </a:p>
      </dgm:t>
    </dgm:pt>
    <dgm:pt modelId="{A7D85D41-D294-4F50-8A77-A147F6E57CB7}" type="sibTrans" cxnId="{31A5E686-0CAE-4CA2-BA31-029000ED1FC5}">
      <dgm:prSet/>
      <dgm:spPr/>
      <dgm:t>
        <a:bodyPr/>
        <a:lstStyle/>
        <a:p>
          <a:endParaRPr lang="es-EC"/>
        </a:p>
      </dgm:t>
    </dgm:pt>
    <dgm:pt modelId="{A4AB3F6E-F5E1-4A05-9D53-B12F6853CCD5}">
      <dgm:prSet phldrT="[Texto]" custT="1"/>
      <dgm:spPr/>
      <dgm:t>
        <a:bodyPr/>
        <a:lstStyle/>
        <a:p>
          <a:r>
            <a:rPr lang="es-EC" sz="4000" dirty="0" err="1" smtClean="0"/>
            <a:t>Finance</a:t>
          </a:r>
          <a:endParaRPr lang="es-EC" sz="4000" dirty="0"/>
        </a:p>
      </dgm:t>
    </dgm:pt>
    <dgm:pt modelId="{F3C21EB7-C072-427E-AEBF-B976491BAB48}" type="parTrans" cxnId="{EF82CB57-7F4E-4D77-A3BF-E91FBB71CDCC}">
      <dgm:prSet/>
      <dgm:spPr/>
      <dgm:t>
        <a:bodyPr/>
        <a:lstStyle/>
        <a:p>
          <a:endParaRPr lang="es-EC"/>
        </a:p>
      </dgm:t>
    </dgm:pt>
    <dgm:pt modelId="{48835D9D-2B02-4750-B50E-DB603A516A26}" type="sibTrans" cxnId="{EF82CB57-7F4E-4D77-A3BF-E91FBB71CDCC}">
      <dgm:prSet/>
      <dgm:spPr/>
      <dgm:t>
        <a:bodyPr/>
        <a:lstStyle/>
        <a:p>
          <a:endParaRPr lang="es-EC"/>
        </a:p>
      </dgm:t>
    </dgm:pt>
    <dgm:pt modelId="{8DAAC180-FD77-449F-ACCE-93705EAD4769}">
      <dgm:prSet phldrT="[Texto]" custT="1"/>
      <dgm:spPr/>
      <dgm:t>
        <a:bodyPr anchor="ctr"/>
        <a:lstStyle/>
        <a:p>
          <a:r>
            <a:rPr lang="en-US" sz="1600" noProof="0" dirty="0" smtClean="0"/>
            <a:t>National System on Environmental Accounting</a:t>
          </a:r>
          <a:endParaRPr lang="en-US" sz="1600" noProof="0" dirty="0"/>
        </a:p>
      </dgm:t>
    </dgm:pt>
    <dgm:pt modelId="{2ABC5DFC-9465-42A7-915C-660A33E891DE}" type="parTrans" cxnId="{146B366D-C1DE-4BE0-B3DE-BFB50346FBC1}">
      <dgm:prSet/>
      <dgm:spPr/>
      <dgm:t>
        <a:bodyPr/>
        <a:lstStyle/>
        <a:p>
          <a:endParaRPr lang="es-EC"/>
        </a:p>
      </dgm:t>
    </dgm:pt>
    <dgm:pt modelId="{8FF31EF0-6C41-4DA9-943B-38529823E868}" type="sibTrans" cxnId="{146B366D-C1DE-4BE0-B3DE-BFB50346FBC1}">
      <dgm:prSet/>
      <dgm:spPr/>
      <dgm:t>
        <a:bodyPr/>
        <a:lstStyle/>
        <a:p>
          <a:endParaRPr lang="es-EC"/>
        </a:p>
      </dgm:t>
    </dgm:pt>
    <dgm:pt modelId="{E4BE45F1-60C9-4037-B70E-5B3852B9616F}">
      <dgm:prSet phldrT="[Texto]" custT="1"/>
      <dgm:spPr/>
      <dgm:t>
        <a:bodyPr anchor="ctr"/>
        <a:lstStyle/>
        <a:p>
          <a:r>
            <a:rPr lang="en-US" sz="1600" noProof="0" dirty="0" err="1" smtClean="0"/>
            <a:t>Sectoral</a:t>
          </a:r>
          <a:r>
            <a:rPr lang="en-US" sz="1600" noProof="0" dirty="0" smtClean="0"/>
            <a:t> and inter-</a:t>
          </a:r>
          <a:r>
            <a:rPr lang="en-US" sz="1600" noProof="0" dirty="0" err="1" smtClean="0"/>
            <a:t>sectoral</a:t>
          </a:r>
          <a:r>
            <a:rPr lang="en-US" sz="1600" noProof="0" dirty="0" smtClean="0"/>
            <a:t> policies</a:t>
          </a:r>
          <a:endParaRPr lang="en-US" sz="1600" noProof="0" dirty="0"/>
        </a:p>
      </dgm:t>
    </dgm:pt>
    <dgm:pt modelId="{3A55CD9D-6E4D-49F5-8914-EA0E9FD90927}" type="parTrans" cxnId="{AF6BFA7F-94E8-40C3-99E6-16E7AEFAE028}">
      <dgm:prSet/>
      <dgm:spPr/>
      <dgm:t>
        <a:bodyPr/>
        <a:lstStyle/>
        <a:p>
          <a:endParaRPr lang="es-EC"/>
        </a:p>
      </dgm:t>
    </dgm:pt>
    <dgm:pt modelId="{DC693B00-A1D2-4CEA-82AD-D29C147C8366}" type="sibTrans" cxnId="{AF6BFA7F-94E8-40C3-99E6-16E7AEFAE028}">
      <dgm:prSet/>
      <dgm:spPr/>
      <dgm:t>
        <a:bodyPr/>
        <a:lstStyle/>
        <a:p>
          <a:endParaRPr lang="es-EC"/>
        </a:p>
      </dgm:t>
    </dgm:pt>
    <dgm:pt modelId="{AAE0CADE-532D-489F-83F0-679A20E45F1A}">
      <dgm:prSet phldrT="[Texto]" custT="1"/>
      <dgm:spPr/>
      <dgm:t>
        <a:bodyPr anchor="ctr"/>
        <a:lstStyle/>
        <a:p>
          <a:r>
            <a:rPr lang="en-US" sz="1600" noProof="0" dirty="0" smtClean="0"/>
            <a:t>Regional Plans</a:t>
          </a:r>
          <a:endParaRPr lang="en-US" sz="1600" noProof="0" dirty="0"/>
        </a:p>
      </dgm:t>
    </dgm:pt>
    <dgm:pt modelId="{0F261CB7-031E-4E47-8BC5-25CA520DD9D2}" type="parTrans" cxnId="{C47BC11F-804B-4469-83F0-3AD727A491D9}">
      <dgm:prSet/>
      <dgm:spPr/>
      <dgm:t>
        <a:bodyPr/>
        <a:lstStyle/>
        <a:p>
          <a:endParaRPr lang="es-EC"/>
        </a:p>
      </dgm:t>
    </dgm:pt>
    <dgm:pt modelId="{AFB967CE-663B-4DCA-AF01-A3C5BB40A676}" type="sibTrans" cxnId="{C47BC11F-804B-4469-83F0-3AD727A491D9}">
      <dgm:prSet/>
      <dgm:spPr/>
      <dgm:t>
        <a:bodyPr/>
        <a:lstStyle/>
        <a:p>
          <a:endParaRPr lang="es-EC"/>
        </a:p>
      </dgm:t>
    </dgm:pt>
    <dgm:pt modelId="{5B84C262-D4D7-45BE-BDAE-BB8EE54CE884}">
      <dgm:prSet phldrT="[Texto]" custT="1"/>
      <dgm:spPr/>
      <dgm:t>
        <a:bodyPr anchor="ctr"/>
        <a:lstStyle/>
        <a:p>
          <a:r>
            <a:rPr lang="en-US" sz="1600" noProof="0" smtClean="0"/>
            <a:t>Development and local zoning  Plans</a:t>
          </a:r>
          <a:endParaRPr lang="en-US" sz="1600" noProof="0"/>
        </a:p>
      </dgm:t>
    </dgm:pt>
    <dgm:pt modelId="{1C9A40B2-0714-43F7-90AA-F36734918517}" type="parTrans" cxnId="{82685A02-D2FF-4BEE-AB2D-BA3E7C2DBE89}">
      <dgm:prSet/>
      <dgm:spPr/>
      <dgm:t>
        <a:bodyPr/>
        <a:lstStyle/>
        <a:p>
          <a:endParaRPr lang="es-EC"/>
        </a:p>
      </dgm:t>
    </dgm:pt>
    <dgm:pt modelId="{EFD6734D-3B9C-4A5D-ABDE-DFE35DE51DD3}" type="sibTrans" cxnId="{82685A02-D2FF-4BEE-AB2D-BA3E7C2DBE89}">
      <dgm:prSet/>
      <dgm:spPr/>
      <dgm:t>
        <a:bodyPr/>
        <a:lstStyle/>
        <a:p>
          <a:endParaRPr lang="es-EC"/>
        </a:p>
      </dgm:t>
    </dgm:pt>
    <dgm:pt modelId="{A6DDFEBE-AF44-4F01-BEF2-2252DB985286}">
      <dgm:prSet phldrT="[Texto]" custT="1"/>
      <dgm:spPr/>
      <dgm:t>
        <a:bodyPr anchor="ctr"/>
        <a:lstStyle/>
        <a:p>
          <a:r>
            <a:rPr lang="en-US" sz="1600" noProof="0" smtClean="0"/>
            <a:t>PNBV 2013-2017</a:t>
          </a:r>
          <a:endParaRPr lang="en-US" sz="1600" noProof="0"/>
        </a:p>
      </dgm:t>
    </dgm:pt>
    <dgm:pt modelId="{9F9184A5-98FC-491B-B210-15BABEF741ED}" type="parTrans" cxnId="{245BDA87-EFFE-43E7-A96F-EDF7CCABEE86}">
      <dgm:prSet/>
      <dgm:spPr/>
      <dgm:t>
        <a:bodyPr/>
        <a:lstStyle/>
        <a:p>
          <a:endParaRPr lang="es-EC"/>
        </a:p>
      </dgm:t>
    </dgm:pt>
    <dgm:pt modelId="{60DAE7EB-4ECF-433E-9D07-C51A67344EAE}" type="sibTrans" cxnId="{245BDA87-EFFE-43E7-A96F-EDF7CCABEE86}">
      <dgm:prSet/>
      <dgm:spPr/>
      <dgm:t>
        <a:bodyPr/>
        <a:lstStyle/>
        <a:p>
          <a:endParaRPr lang="es-EC"/>
        </a:p>
      </dgm:t>
    </dgm:pt>
    <dgm:pt modelId="{8C49FFC8-8CE2-4D11-B85C-3AA9DE7BCC8F}">
      <dgm:prSet phldrT="[Texto]" custT="1"/>
      <dgm:spPr/>
      <dgm:t>
        <a:bodyPr anchor="ctr"/>
        <a:lstStyle/>
        <a:p>
          <a:r>
            <a:rPr lang="en-US" sz="1600" noProof="0" dirty="0" smtClean="0"/>
            <a:t>National Policy on Governance of the Natural Heritage</a:t>
          </a:r>
          <a:endParaRPr lang="en-US" sz="1600" noProof="0" dirty="0"/>
        </a:p>
      </dgm:t>
    </dgm:pt>
    <dgm:pt modelId="{E6E12055-607D-4F2B-82B7-CA6BCA2F520B}" type="parTrans" cxnId="{A7311265-2E0E-43CD-BB1B-65FE6420792E}">
      <dgm:prSet/>
      <dgm:spPr/>
      <dgm:t>
        <a:bodyPr/>
        <a:lstStyle/>
        <a:p>
          <a:endParaRPr lang="es-EC"/>
        </a:p>
      </dgm:t>
    </dgm:pt>
    <dgm:pt modelId="{A77E0370-799E-4204-953E-5B8E72307A72}" type="sibTrans" cxnId="{A7311265-2E0E-43CD-BB1B-65FE6420792E}">
      <dgm:prSet/>
      <dgm:spPr/>
      <dgm:t>
        <a:bodyPr/>
        <a:lstStyle/>
        <a:p>
          <a:endParaRPr lang="es-EC"/>
        </a:p>
      </dgm:t>
    </dgm:pt>
    <dgm:pt modelId="{FBDA36DB-45EB-47AE-95F9-BBAF8CFF6420}">
      <dgm:prSet phldrT="[Texto]" custT="1"/>
      <dgm:spPr/>
      <dgm:t>
        <a:bodyPr anchor="ctr"/>
        <a:lstStyle/>
        <a:p>
          <a:r>
            <a:rPr lang="en-US" sz="1600" noProof="0" dirty="0" smtClean="0"/>
            <a:t>BIOFIN</a:t>
          </a:r>
          <a:endParaRPr lang="en-US" sz="1600" noProof="0" dirty="0"/>
        </a:p>
      </dgm:t>
    </dgm:pt>
    <dgm:pt modelId="{ACD33374-4B6F-4B64-B502-8B34645E976D}" type="sibTrans" cxnId="{D907B20D-9A9A-4CB6-A9A0-C64A3EE576F2}">
      <dgm:prSet/>
      <dgm:spPr/>
      <dgm:t>
        <a:bodyPr/>
        <a:lstStyle/>
        <a:p>
          <a:endParaRPr lang="es-EC"/>
        </a:p>
      </dgm:t>
    </dgm:pt>
    <dgm:pt modelId="{D873ADBB-6C4D-44E8-884F-B8CB2EB0EE0D}" type="parTrans" cxnId="{D907B20D-9A9A-4CB6-A9A0-C64A3EE576F2}">
      <dgm:prSet/>
      <dgm:spPr/>
      <dgm:t>
        <a:bodyPr/>
        <a:lstStyle/>
        <a:p>
          <a:endParaRPr lang="es-EC"/>
        </a:p>
      </dgm:t>
    </dgm:pt>
    <dgm:pt modelId="{F353F0E0-75AB-4EB4-945A-355020CB831B}">
      <dgm:prSet phldrT="[Texto]" custT="1"/>
      <dgm:spPr/>
      <dgm:t>
        <a:bodyPr anchor="ctr"/>
        <a:lstStyle/>
        <a:p>
          <a:r>
            <a:rPr lang="en-US" sz="1600" noProof="0" dirty="0" smtClean="0"/>
            <a:t>Assessment of biodiversity and Ecosystem services: TEEB and others</a:t>
          </a:r>
          <a:endParaRPr lang="en-US" sz="1600" noProof="0" dirty="0"/>
        </a:p>
      </dgm:t>
    </dgm:pt>
    <dgm:pt modelId="{5C08839C-EAAD-4154-94D1-18FFE10A7CA9}" type="sibTrans" cxnId="{172E5942-CA77-446C-B51A-F2B57834B114}">
      <dgm:prSet/>
      <dgm:spPr/>
      <dgm:t>
        <a:bodyPr/>
        <a:lstStyle/>
        <a:p>
          <a:endParaRPr lang="es-EC"/>
        </a:p>
      </dgm:t>
    </dgm:pt>
    <dgm:pt modelId="{D567594A-1460-475A-BC0F-219E6CB7385C}" type="parTrans" cxnId="{172E5942-CA77-446C-B51A-F2B57834B114}">
      <dgm:prSet/>
      <dgm:spPr/>
      <dgm:t>
        <a:bodyPr/>
        <a:lstStyle/>
        <a:p>
          <a:endParaRPr lang="es-EC"/>
        </a:p>
      </dgm:t>
    </dgm:pt>
    <dgm:pt modelId="{1363BC5E-EE67-400F-A527-74EBADD5095B}">
      <dgm:prSet phldrT="[Texto]" custT="1"/>
      <dgm:spPr/>
      <dgm:t>
        <a:bodyPr anchor="ctr"/>
        <a:lstStyle/>
        <a:p>
          <a:r>
            <a:rPr lang="en-US" sz="1600" noProof="0" dirty="0" smtClean="0"/>
            <a:t>Desegregate public expenses related to the environmental policy (biodiversity)</a:t>
          </a:r>
          <a:endParaRPr lang="en-US" sz="1600" noProof="0" dirty="0"/>
        </a:p>
      </dgm:t>
    </dgm:pt>
    <dgm:pt modelId="{A52BFB7F-8760-40D2-AFDD-39868E2B2B90}" type="sibTrans" cxnId="{DAB2B197-7750-4CFF-AC8E-44F8DB5B965E}">
      <dgm:prSet/>
      <dgm:spPr/>
      <dgm:t>
        <a:bodyPr/>
        <a:lstStyle/>
        <a:p>
          <a:endParaRPr lang="es-EC"/>
        </a:p>
      </dgm:t>
    </dgm:pt>
    <dgm:pt modelId="{6AEBD1AD-8F1E-4D8D-BA98-A5F26E645024}" type="parTrans" cxnId="{DAB2B197-7750-4CFF-AC8E-44F8DB5B965E}">
      <dgm:prSet/>
      <dgm:spPr/>
      <dgm:t>
        <a:bodyPr/>
        <a:lstStyle/>
        <a:p>
          <a:endParaRPr lang="es-EC"/>
        </a:p>
      </dgm:t>
    </dgm:pt>
    <dgm:pt modelId="{BF087B57-7757-4788-A397-62CE9EDC90BA}" type="pres">
      <dgm:prSet presAssocID="{5B264A80-026A-4C3A-BAA7-201C80804B6D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s-EC"/>
        </a:p>
      </dgm:t>
    </dgm:pt>
    <dgm:pt modelId="{221B6166-384C-4682-935A-D04E060EA1EA}" type="pres">
      <dgm:prSet presAssocID="{DF2963F3-FA69-47D3-9C13-B6597CC7911E}" presName="linNode" presStyleCnt="0"/>
      <dgm:spPr/>
    </dgm:pt>
    <dgm:pt modelId="{4C58F032-86EC-491E-8894-6BC028A01B89}" type="pres">
      <dgm:prSet presAssocID="{DF2963F3-FA69-47D3-9C13-B6597CC7911E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D6E4A3A0-3E99-460F-A278-75B1F9A244D6}" type="pres">
      <dgm:prSet presAssocID="{DF2963F3-FA69-47D3-9C13-B6597CC7911E}" presName="childShp" presStyleLbl="bgAccFollowNode1" presStyleIdx="0" presStyleCnt="2" custScaleY="138460" custLinFactNeighborX="122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220F69B-DB2C-47ED-9D9B-E6E7F4CDFCB5}" type="pres">
      <dgm:prSet presAssocID="{A7D85D41-D294-4F50-8A77-A147F6E57CB7}" presName="spacing" presStyleCnt="0"/>
      <dgm:spPr/>
    </dgm:pt>
    <dgm:pt modelId="{1832D42C-191F-443D-AE86-213157667219}" type="pres">
      <dgm:prSet presAssocID="{A4AB3F6E-F5E1-4A05-9D53-B12F6853CCD5}" presName="linNode" presStyleCnt="0"/>
      <dgm:spPr/>
    </dgm:pt>
    <dgm:pt modelId="{C189EAC5-B110-497C-A327-F404AC86F96D}" type="pres">
      <dgm:prSet presAssocID="{A4AB3F6E-F5E1-4A05-9D53-B12F6853CCD5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AA1E2935-3F36-4230-8A01-2840FFA9DEBC}" type="pres">
      <dgm:prSet presAssocID="{A4AB3F6E-F5E1-4A05-9D53-B12F6853CCD5}" presName="childShp" presStyleLbl="bgAccFollowNode1" presStyleIdx="1" presStyleCnt="2" custScaleY="138460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DAB2B197-7750-4CFF-AC8E-44F8DB5B965E}" srcId="{A4AB3F6E-F5E1-4A05-9D53-B12F6853CCD5}" destId="{1363BC5E-EE67-400F-A527-74EBADD5095B}" srcOrd="1" destOrd="0" parTransId="{6AEBD1AD-8F1E-4D8D-BA98-A5F26E645024}" sibTransId="{A52BFB7F-8760-40D2-AFDD-39868E2B2B90}"/>
    <dgm:cxn modelId="{9BB5CF22-1B60-4B0A-99F1-119CF649669D}" type="presOf" srcId="{5B264A80-026A-4C3A-BAA7-201C80804B6D}" destId="{BF087B57-7757-4788-A397-62CE9EDC90BA}" srcOrd="0" destOrd="0" presId="urn:microsoft.com/office/officeart/2005/8/layout/vList6"/>
    <dgm:cxn modelId="{C47BC11F-804B-4469-83F0-3AD727A491D9}" srcId="{DF2963F3-FA69-47D3-9C13-B6597CC7911E}" destId="{AAE0CADE-532D-489F-83F0-679A20E45F1A}" srcOrd="2" destOrd="0" parTransId="{0F261CB7-031E-4E47-8BC5-25CA520DD9D2}" sibTransId="{AFB967CE-663B-4DCA-AF01-A3C5BB40A676}"/>
    <dgm:cxn modelId="{AF6BFA7F-94E8-40C3-99E6-16E7AEFAE028}" srcId="{DF2963F3-FA69-47D3-9C13-B6597CC7911E}" destId="{E4BE45F1-60C9-4037-B70E-5B3852B9616F}" srcOrd="1" destOrd="0" parTransId="{3A55CD9D-6E4D-49F5-8914-EA0E9FD90927}" sibTransId="{DC693B00-A1D2-4CEA-82AD-D29C147C8366}"/>
    <dgm:cxn modelId="{A4CCC11D-19EB-45E8-8B75-122A5E8BD1D4}" type="presOf" srcId="{5B84C262-D4D7-45BE-BDAE-BB8EE54CE884}" destId="{D6E4A3A0-3E99-460F-A278-75B1F9A244D6}" srcOrd="0" destOrd="3" presId="urn:microsoft.com/office/officeart/2005/8/layout/vList6"/>
    <dgm:cxn modelId="{82685A02-D2FF-4BEE-AB2D-BA3E7C2DBE89}" srcId="{DF2963F3-FA69-47D3-9C13-B6597CC7911E}" destId="{5B84C262-D4D7-45BE-BDAE-BB8EE54CE884}" srcOrd="3" destOrd="0" parTransId="{1C9A40B2-0714-43F7-90AA-F36734918517}" sibTransId="{EFD6734D-3B9C-4A5D-ABDE-DFE35DE51DD3}"/>
    <dgm:cxn modelId="{2D81C08B-8F6B-4352-A96D-1B88EF76AA98}" type="presOf" srcId="{A4AB3F6E-F5E1-4A05-9D53-B12F6853CCD5}" destId="{C189EAC5-B110-497C-A327-F404AC86F96D}" srcOrd="0" destOrd="0" presId="urn:microsoft.com/office/officeart/2005/8/layout/vList6"/>
    <dgm:cxn modelId="{4CF3F5B3-BE8A-4A30-A452-34CFCAF3BE9B}" type="presOf" srcId="{FBDA36DB-45EB-47AE-95F9-BBAF8CFF6420}" destId="{AA1E2935-3F36-4230-8A01-2840FFA9DEBC}" srcOrd="0" destOrd="3" presId="urn:microsoft.com/office/officeart/2005/8/layout/vList6"/>
    <dgm:cxn modelId="{FD061179-1E4D-4424-AF47-E84724FF4690}" type="presOf" srcId="{E4BE45F1-60C9-4037-B70E-5B3852B9616F}" destId="{D6E4A3A0-3E99-460F-A278-75B1F9A244D6}" srcOrd="0" destOrd="1" presId="urn:microsoft.com/office/officeart/2005/8/layout/vList6"/>
    <dgm:cxn modelId="{245BDA87-EFFE-43E7-A96F-EDF7CCABEE86}" srcId="{DF2963F3-FA69-47D3-9C13-B6597CC7911E}" destId="{A6DDFEBE-AF44-4F01-BEF2-2252DB985286}" srcOrd="0" destOrd="0" parTransId="{9F9184A5-98FC-491B-B210-15BABEF741ED}" sibTransId="{60DAE7EB-4ECF-433E-9D07-C51A67344EAE}"/>
    <dgm:cxn modelId="{D907B20D-9A9A-4CB6-A9A0-C64A3EE576F2}" srcId="{A4AB3F6E-F5E1-4A05-9D53-B12F6853CCD5}" destId="{FBDA36DB-45EB-47AE-95F9-BBAF8CFF6420}" srcOrd="3" destOrd="0" parTransId="{D873ADBB-6C4D-44E8-884F-B8CB2EB0EE0D}" sibTransId="{ACD33374-4B6F-4B64-B502-8B34645E976D}"/>
    <dgm:cxn modelId="{172E5942-CA77-446C-B51A-F2B57834B114}" srcId="{A4AB3F6E-F5E1-4A05-9D53-B12F6853CCD5}" destId="{F353F0E0-75AB-4EB4-945A-355020CB831B}" srcOrd="2" destOrd="0" parTransId="{D567594A-1460-475A-BC0F-219E6CB7385C}" sibTransId="{5C08839C-EAAD-4154-94D1-18FFE10A7CA9}"/>
    <dgm:cxn modelId="{4B933973-B0B4-4225-BCCF-852653838E85}" type="presOf" srcId="{AAE0CADE-532D-489F-83F0-679A20E45F1A}" destId="{D6E4A3A0-3E99-460F-A278-75B1F9A244D6}" srcOrd="0" destOrd="2" presId="urn:microsoft.com/office/officeart/2005/8/layout/vList6"/>
    <dgm:cxn modelId="{E4CBD4EA-86A8-4DA1-AE2B-44581D1B283A}" type="presOf" srcId="{1363BC5E-EE67-400F-A527-74EBADD5095B}" destId="{AA1E2935-3F36-4230-8A01-2840FFA9DEBC}" srcOrd="0" destOrd="1" presId="urn:microsoft.com/office/officeart/2005/8/layout/vList6"/>
    <dgm:cxn modelId="{A7311265-2E0E-43CD-BB1B-65FE6420792E}" srcId="{DF2963F3-FA69-47D3-9C13-B6597CC7911E}" destId="{8C49FFC8-8CE2-4D11-B85C-3AA9DE7BCC8F}" srcOrd="4" destOrd="0" parTransId="{E6E12055-607D-4F2B-82B7-CA6BCA2F520B}" sibTransId="{A77E0370-799E-4204-953E-5B8E72307A72}"/>
    <dgm:cxn modelId="{146B366D-C1DE-4BE0-B3DE-BFB50346FBC1}" srcId="{A4AB3F6E-F5E1-4A05-9D53-B12F6853CCD5}" destId="{8DAAC180-FD77-449F-ACCE-93705EAD4769}" srcOrd="0" destOrd="0" parTransId="{2ABC5DFC-9465-42A7-915C-660A33E891DE}" sibTransId="{8FF31EF0-6C41-4DA9-943B-38529823E868}"/>
    <dgm:cxn modelId="{EA5CE743-63B9-4DDB-8BCE-4E0B73B50091}" type="presOf" srcId="{A6DDFEBE-AF44-4F01-BEF2-2252DB985286}" destId="{D6E4A3A0-3E99-460F-A278-75B1F9A244D6}" srcOrd="0" destOrd="0" presId="urn:microsoft.com/office/officeart/2005/8/layout/vList6"/>
    <dgm:cxn modelId="{0BB37F76-E3B3-4BC8-B78C-5E4BA0078795}" type="presOf" srcId="{8C49FFC8-8CE2-4D11-B85C-3AA9DE7BCC8F}" destId="{D6E4A3A0-3E99-460F-A278-75B1F9A244D6}" srcOrd="0" destOrd="4" presId="urn:microsoft.com/office/officeart/2005/8/layout/vList6"/>
    <dgm:cxn modelId="{860E4E37-34D6-4642-8073-8D89347580FB}" type="presOf" srcId="{8DAAC180-FD77-449F-ACCE-93705EAD4769}" destId="{AA1E2935-3F36-4230-8A01-2840FFA9DEBC}" srcOrd="0" destOrd="0" presId="urn:microsoft.com/office/officeart/2005/8/layout/vList6"/>
    <dgm:cxn modelId="{DC3D1B98-F8AA-4840-A207-77361E4A5A14}" type="presOf" srcId="{F353F0E0-75AB-4EB4-945A-355020CB831B}" destId="{AA1E2935-3F36-4230-8A01-2840FFA9DEBC}" srcOrd="0" destOrd="2" presId="urn:microsoft.com/office/officeart/2005/8/layout/vList6"/>
    <dgm:cxn modelId="{31A5E686-0CAE-4CA2-BA31-029000ED1FC5}" srcId="{5B264A80-026A-4C3A-BAA7-201C80804B6D}" destId="{DF2963F3-FA69-47D3-9C13-B6597CC7911E}" srcOrd="0" destOrd="0" parTransId="{D87387C4-BD45-4FFF-AC15-A464C2CDFE24}" sibTransId="{A7D85D41-D294-4F50-8A77-A147F6E57CB7}"/>
    <dgm:cxn modelId="{B0502838-9301-4E11-A5DA-FD8B4A0C401A}" type="presOf" srcId="{DF2963F3-FA69-47D3-9C13-B6597CC7911E}" destId="{4C58F032-86EC-491E-8894-6BC028A01B89}" srcOrd="0" destOrd="0" presId="urn:microsoft.com/office/officeart/2005/8/layout/vList6"/>
    <dgm:cxn modelId="{EF82CB57-7F4E-4D77-A3BF-E91FBB71CDCC}" srcId="{5B264A80-026A-4C3A-BAA7-201C80804B6D}" destId="{A4AB3F6E-F5E1-4A05-9D53-B12F6853CCD5}" srcOrd="1" destOrd="0" parTransId="{F3C21EB7-C072-427E-AEBF-B976491BAB48}" sibTransId="{48835D9D-2B02-4750-B50E-DB603A516A26}"/>
    <dgm:cxn modelId="{D4EBB7A9-7CA5-45D2-9CDB-3FE99B603C5D}" type="presParOf" srcId="{BF087B57-7757-4788-A397-62CE9EDC90BA}" destId="{221B6166-384C-4682-935A-D04E060EA1EA}" srcOrd="0" destOrd="0" presId="urn:microsoft.com/office/officeart/2005/8/layout/vList6"/>
    <dgm:cxn modelId="{2C1A3D6D-E3D3-432F-8135-07776C97112C}" type="presParOf" srcId="{221B6166-384C-4682-935A-D04E060EA1EA}" destId="{4C58F032-86EC-491E-8894-6BC028A01B89}" srcOrd="0" destOrd="0" presId="urn:microsoft.com/office/officeart/2005/8/layout/vList6"/>
    <dgm:cxn modelId="{228F2510-46B5-4320-AA85-8BB222A22204}" type="presParOf" srcId="{221B6166-384C-4682-935A-D04E060EA1EA}" destId="{D6E4A3A0-3E99-460F-A278-75B1F9A244D6}" srcOrd="1" destOrd="0" presId="urn:microsoft.com/office/officeart/2005/8/layout/vList6"/>
    <dgm:cxn modelId="{5DBCA645-D2E2-48A2-ADE1-129A249111C9}" type="presParOf" srcId="{BF087B57-7757-4788-A397-62CE9EDC90BA}" destId="{7220F69B-DB2C-47ED-9D9B-E6E7F4CDFCB5}" srcOrd="1" destOrd="0" presId="urn:microsoft.com/office/officeart/2005/8/layout/vList6"/>
    <dgm:cxn modelId="{DEAEF42D-2E1D-495E-9580-C0625509C2F9}" type="presParOf" srcId="{BF087B57-7757-4788-A397-62CE9EDC90BA}" destId="{1832D42C-191F-443D-AE86-213157667219}" srcOrd="2" destOrd="0" presId="urn:microsoft.com/office/officeart/2005/8/layout/vList6"/>
    <dgm:cxn modelId="{7331E76C-9B1B-442B-AACE-914AC0F0D5B6}" type="presParOf" srcId="{1832D42C-191F-443D-AE86-213157667219}" destId="{C189EAC5-B110-497C-A327-F404AC86F96D}" srcOrd="0" destOrd="0" presId="urn:microsoft.com/office/officeart/2005/8/layout/vList6"/>
    <dgm:cxn modelId="{533C9414-4DA7-4906-93C9-189DD430B0B3}" type="presParOf" srcId="{1832D42C-191F-443D-AE86-213157667219}" destId="{AA1E2935-3F36-4230-8A01-2840FFA9DEBC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046F4DB-CD29-45DD-8AA8-C6416D88E03B}" type="doc">
      <dgm:prSet loTypeId="urn:microsoft.com/office/officeart/2005/8/layout/hList7#14" loCatId="list" qsTypeId="urn:microsoft.com/office/officeart/2005/8/quickstyle/simple1" qsCatId="simple" csTypeId="urn:microsoft.com/office/officeart/2005/8/colors/accent1_2" csCatId="accent1" phldr="1"/>
      <dgm:spPr/>
    </dgm:pt>
    <dgm:pt modelId="{05D1B91A-6004-4DB8-8D56-70EBF925A3EF}">
      <dgm:prSet phldrT="[Texto]" custT="1"/>
      <dgm:spPr>
        <a:solidFill>
          <a:schemeClr val="tx1">
            <a:lumMod val="50000"/>
            <a:lumOff val="50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Oil</a:t>
          </a:r>
          <a:r>
            <a:rPr lang="es-ES" sz="1600" dirty="0" smtClean="0">
              <a:latin typeface="Candara" pitchFamily="34" charset="0"/>
            </a:rPr>
            <a:t> and Natural Gas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7ABE6F06-1B72-4C0D-952F-D82B532CD682}" type="par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9A962272-79F1-4B15-A042-E82B093D1134}" type="sib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D0A01089-1C2D-45FE-9036-89208C7ED142}">
      <dgm:prSet phldrT="[Texto]" custT="1"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Land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CF5D0D21-ABE2-4052-BBA4-A2B2175D15F3}" type="parTrans" cxnId="{55D8D457-5F33-4393-B205-0421F49107C2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0C0E2170-F28B-4898-9251-4C9664D42A71}" type="sibTrans" cxnId="{55D8D457-5F33-4393-B205-0421F49107C2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D6ADEC4C-20C3-4F89-AB26-EF4240CAF9F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Water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DDC8B099-4B77-486E-B0C1-618F6D9835BD}" type="parTrans" cxnId="{4D691572-5A41-4E32-8CB0-DBFEE0AA1F98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BF9D8A79-5EBB-4215-85D3-0ACFCE371B25}" type="sibTrans" cxnId="{4D691572-5A41-4E32-8CB0-DBFEE0AA1F98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168533F7-F47A-4215-94E5-328ED239693F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Timber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Forest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Resource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8C831F7D-3B5F-4374-A5FF-6079B6DFB30C}" type="sibTrans" cxnId="{5F727A9B-E546-49A8-9BAD-52132872C850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F0B5D7E3-AAC6-4E4B-B712-9EA294E7DA8C}" type="parTrans" cxnId="{5F727A9B-E546-49A8-9BAD-52132872C850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16B53DD7-2B92-4A82-A529-F6A5CC1ACE74}" type="pres">
      <dgm:prSet presAssocID="{1046F4DB-CD29-45DD-8AA8-C6416D88E03B}" presName="Name0" presStyleCnt="0">
        <dgm:presLayoutVars>
          <dgm:dir/>
          <dgm:resizeHandles val="exact"/>
        </dgm:presLayoutVars>
      </dgm:prSet>
      <dgm:spPr/>
    </dgm:pt>
    <dgm:pt modelId="{A8F80011-5C3E-4A75-9E18-294053D6A41E}" type="pres">
      <dgm:prSet presAssocID="{1046F4DB-CD29-45DD-8AA8-C6416D88E03B}" presName="fgShape" presStyleLbl="fgShp" presStyleIdx="0" presStyleCnt="1" custScaleY="192927" custLinFactNeighborX="593" custLinFactNeighborY="-8081"/>
      <dgm:spPr>
        <a:solidFill>
          <a:schemeClr val="accent5">
            <a:lumMod val="50000"/>
          </a:schemeClr>
        </a:solidFill>
      </dgm:spPr>
    </dgm:pt>
    <dgm:pt modelId="{76842240-6407-4938-8A92-8205894BCD87}" type="pres">
      <dgm:prSet presAssocID="{1046F4DB-CD29-45DD-8AA8-C6416D88E03B}" presName="linComp" presStyleCnt="0"/>
      <dgm:spPr/>
    </dgm:pt>
    <dgm:pt modelId="{DB974AA3-BFBE-4E52-A94B-0121A3B0F798}" type="pres">
      <dgm:prSet presAssocID="{05D1B91A-6004-4DB8-8D56-70EBF925A3EF}" presName="compNode" presStyleCnt="0"/>
      <dgm:spPr/>
    </dgm:pt>
    <dgm:pt modelId="{A52B0564-185A-4332-83F2-5313C28FD4AC}" type="pres">
      <dgm:prSet presAssocID="{05D1B91A-6004-4DB8-8D56-70EBF925A3EF}" presName="bkgdShape" presStyleLbl="node1" presStyleIdx="0" presStyleCnt="4"/>
      <dgm:spPr/>
      <dgm:t>
        <a:bodyPr/>
        <a:lstStyle/>
        <a:p>
          <a:endParaRPr lang="es-ES"/>
        </a:p>
      </dgm:t>
    </dgm:pt>
    <dgm:pt modelId="{32E863C7-74AD-4569-B3E1-5D055923EB63}" type="pres">
      <dgm:prSet presAssocID="{05D1B91A-6004-4DB8-8D56-70EBF925A3EF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3B10D98-DDEB-4780-8597-79331AAADF9D}" type="pres">
      <dgm:prSet presAssocID="{05D1B91A-6004-4DB8-8D56-70EBF925A3EF}" presName="invisiNode" presStyleLbl="node1" presStyleIdx="0" presStyleCnt="4"/>
      <dgm:spPr/>
    </dgm:pt>
    <dgm:pt modelId="{85061234-7935-41AA-A9A3-242D56FE983D}" type="pres">
      <dgm:prSet presAssocID="{05D1B91A-6004-4DB8-8D56-70EBF925A3EF}" presName="imagNode" presStyleLbl="fgImgPlace1" presStyleIdx="0" presStyleCnt="4" custScaleX="134387" custScaleY="134387" custLinFactNeighborY="12208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B68DC7F-2369-4B6C-8F60-9A30C8DE995F}" type="pres">
      <dgm:prSet presAssocID="{9A962272-79F1-4B15-A042-E82B093D1134}" presName="sibTrans" presStyleLbl="sibTrans2D1" presStyleIdx="0" presStyleCnt="0"/>
      <dgm:spPr/>
      <dgm:t>
        <a:bodyPr/>
        <a:lstStyle/>
        <a:p>
          <a:endParaRPr lang="es-ES"/>
        </a:p>
      </dgm:t>
    </dgm:pt>
    <dgm:pt modelId="{B4F1E6FB-B206-46DD-816A-068882C90A1F}" type="pres">
      <dgm:prSet presAssocID="{168533F7-F47A-4215-94E5-328ED239693F}" presName="compNode" presStyleCnt="0"/>
      <dgm:spPr/>
    </dgm:pt>
    <dgm:pt modelId="{C5BC063B-BC95-43FB-9981-87ED1FE4A46F}" type="pres">
      <dgm:prSet presAssocID="{168533F7-F47A-4215-94E5-328ED239693F}" presName="bkgdShape" presStyleLbl="node1" presStyleIdx="1" presStyleCnt="4"/>
      <dgm:spPr/>
      <dgm:t>
        <a:bodyPr/>
        <a:lstStyle/>
        <a:p>
          <a:endParaRPr lang="es-ES"/>
        </a:p>
      </dgm:t>
    </dgm:pt>
    <dgm:pt modelId="{E3CBDCB0-DB7B-4D6E-B59A-CB4918528DC3}" type="pres">
      <dgm:prSet presAssocID="{168533F7-F47A-4215-94E5-328ED239693F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86D8095-8430-41E9-94BB-A2059426112B}" type="pres">
      <dgm:prSet presAssocID="{168533F7-F47A-4215-94E5-328ED239693F}" presName="invisiNode" presStyleLbl="node1" presStyleIdx="1" presStyleCnt="4"/>
      <dgm:spPr/>
    </dgm:pt>
    <dgm:pt modelId="{995A5B8F-AB98-41AA-AB79-119C69C5F1C7}" type="pres">
      <dgm:prSet presAssocID="{168533F7-F47A-4215-94E5-328ED239693F}" presName="imagNode" presStyleLbl="fgImgPlace1" presStyleIdx="1" presStyleCnt="4" custScaleX="134387" custScaleY="134387" custLinFactNeighborY="12208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CEF6BEE-B9E3-4B56-847C-004AC5E71D43}" type="pres">
      <dgm:prSet presAssocID="{8C831F7D-3B5F-4374-A5FF-6079B6DFB30C}" presName="sibTrans" presStyleLbl="sibTrans2D1" presStyleIdx="0" presStyleCnt="0"/>
      <dgm:spPr/>
      <dgm:t>
        <a:bodyPr/>
        <a:lstStyle/>
        <a:p>
          <a:endParaRPr lang="es-ES"/>
        </a:p>
      </dgm:t>
    </dgm:pt>
    <dgm:pt modelId="{966AC11A-398F-4E52-9C6A-034ED623CDBC}" type="pres">
      <dgm:prSet presAssocID="{D6ADEC4C-20C3-4F89-AB26-EF4240CAF9FD}" presName="compNode" presStyleCnt="0"/>
      <dgm:spPr/>
    </dgm:pt>
    <dgm:pt modelId="{70B190ED-C744-4308-BDD3-48E4106EE2F5}" type="pres">
      <dgm:prSet presAssocID="{D6ADEC4C-20C3-4F89-AB26-EF4240CAF9FD}" presName="bkgdShape" presStyleLbl="node1" presStyleIdx="2" presStyleCnt="4"/>
      <dgm:spPr/>
      <dgm:t>
        <a:bodyPr/>
        <a:lstStyle/>
        <a:p>
          <a:endParaRPr lang="es-ES"/>
        </a:p>
      </dgm:t>
    </dgm:pt>
    <dgm:pt modelId="{45DFB4AF-61FB-465C-9FB9-7B9E53421258}" type="pres">
      <dgm:prSet presAssocID="{D6ADEC4C-20C3-4F89-AB26-EF4240CAF9FD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843D755-0ED7-412B-9305-4133896F2306}" type="pres">
      <dgm:prSet presAssocID="{D6ADEC4C-20C3-4F89-AB26-EF4240CAF9FD}" presName="invisiNode" presStyleLbl="node1" presStyleIdx="2" presStyleCnt="4"/>
      <dgm:spPr/>
    </dgm:pt>
    <dgm:pt modelId="{E27310D4-4F91-4859-93B7-51140B4E30CB}" type="pres">
      <dgm:prSet presAssocID="{D6ADEC4C-20C3-4F89-AB26-EF4240CAF9FD}" presName="imagNode" presStyleLbl="fgImgPlace1" presStyleIdx="2" presStyleCnt="4" custScaleX="134387" custScaleY="134387" custLinFactNeighborY="12208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46DC3A55-4455-4000-955C-D879FD5B5A2C}" type="pres">
      <dgm:prSet presAssocID="{BF9D8A79-5EBB-4215-85D3-0ACFCE371B25}" presName="sibTrans" presStyleLbl="sibTrans2D1" presStyleIdx="0" presStyleCnt="0"/>
      <dgm:spPr/>
      <dgm:t>
        <a:bodyPr/>
        <a:lstStyle/>
        <a:p>
          <a:endParaRPr lang="es-ES"/>
        </a:p>
      </dgm:t>
    </dgm:pt>
    <dgm:pt modelId="{D928B018-2A4B-4B62-B81C-284ABEC80B0E}" type="pres">
      <dgm:prSet presAssocID="{D0A01089-1C2D-45FE-9036-89208C7ED142}" presName="compNode" presStyleCnt="0"/>
      <dgm:spPr/>
    </dgm:pt>
    <dgm:pt modelId="{9CBB6EA3-B53C-401E-9F8E-A15B1472D93C}" type="pres">
      <dgm:prSet presAssocID="{D0A01089-1C2D-45FE-9036-89208C7ED142}" presName="bkgdShape" presStyleLbl="node1" presStyleIdx="3" presStyleCnt="4"/>
      <dgm:spPr/>
      <dgm:t>
        <a:bodyPr/>
        <a:lstStyle/>
        <a:p>
          <a:endParaRPr lang="es-ES"/>
        </a:p>
      </dgm:t>
    </dgm:pt>
    <dgm:pt modelId="{0587256F-F1DA-402B-8C51-E8465B91FFC8}" type="pres">
      <dgm:prSet presAssocID="{D0A01089-1C2D-45FE-9036-89208C7ED142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50A4B3-14AB-49CF-A20B-824674E89198}" type="pres">
      <dgm:prSet presAssocID="{D0A01089-1C2D-45FE-9036-89208C7ED142}" presName="invisiNode" presStyleLbl="node1" presStyleIdx="3" presStyleCnt="4"/>
      <dgm:spPr/>
    </dgm:pt>
    <dgm:pt modelId="{A32F777B-420A-4588-81CB-DB289BBF36E2}" type="pres">
      <dgm:prSet presAssocID="{D0A01089-1C2D-45FE-9036-89208C7ED142}" presName="imagNode" presStyleLbl="fgImgPlace1" presStyleIdx="3" presStyleCnt="4" custScaleX="134387" custScaleY="134387" custLinFactNeighborX="-2631" custLinFactNeighborY="14210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9BBC81DF-6A6F-460E-B600-7AC74F28544F}" type="presOf" srcId="{D6ADEC4C-20C3-4F89-AB26-EF4240CAF9FD}" destId="{70B190ED-C744-4308-BDD3-48E4106EE2F5}" srcOrd="0" destOrd="0" presId="urn:microsoft.com/office/officeart/2005/8/layout/hList7#14"/>
    <dgm:cxn modelId="{CFE3E94C-EDBF-41EE-801B-F1CAA938E9E5}" type="presOf" srcId="{BF9D8A79-5EBB-4215-85D3-0ACFCE371B25}" destId="{46DC3A55-4455-4000-955C-D879FD5B5A2C}" srcOrd="0" destOrd="0" presId="urn:microsoft.com/office/officeart/2005/8/layout/hList7#14"/>
    <dgm:cxn modelId="{1B877FE3-1A94-4469-802D-C97036EB792E}" srcId="{1046F4DB-CD29-45DD-8AA8-C6416D88E03B}" destId="{05D1B91A-6004-4DB8-8D56-70EBF925A3EF}" srcOrd="0" destOrd="0" parTransId="{7ABE6F06-1B72-4C0D-952F-D82B532CD682}" sibTransId="{9A962272-79F1-4B15-A042-E82B093D1134}"/>
    <dgm:cxn modelId="{55D8D457-5F33-4393-B205-0421F49107C2}" srcId="{1046F4DB-CD29-45DD-8AA8-C6416D88E03B}" destId="{D0A01089-1C2D-45FE-9036-89208C7ED142}" srcOrd="3" destOrd="0" parTransId="{CF5D0D21-ABE2-4052-BBA4-A2B2175D15F3}" sibTransId="{0C0E2170-F28B-4898-9251-4C9664D42A71}"/>
    <dgm:cxn modelId="{76EFF1BA-8231-41BF-A45E-78DBCDE005B3}" type="presOf" srcId="{D6ADEC4C-20C3-4F89-AB26-EF4240CAF9FD}" destId="{45DFB4AF-61FB-465C-9FB9-7B9E53421258}" srcOrd="1" destOrd="0" presId="urn:microsoft.com/office/officeart/2005/8/layout/hList7#14"/>
    <dgm:cxn modelId="{B77B3F17-5382-4F7B-9EC4-32143081BC20}" type="presOf" srcId="{05D1B91A-6004-4DB8-8D56-70EBF925A3EF}" destId="{A52B0564-185A-4332-83F2-5313C28FD4AC}" srcOrd="0" destOrd="0" presId="urn:microsoft.com/office/officeart/2005/8/layout/hList7#14"/>
    <dgm:cxn modelId="{B3A0DF29-F1E9-4C06-995C-DD5777E2FEC2}" type="presOf" srcId="{D0A01089-1C2D-45FE-9036-89208C7ED142}" destId="{9CBB6EA3-B53C-401E-9F8E-A15B1472D93C}" srcOrd="0" destOrd="0" presId="urn:microsoft.com/office/officeart/2005/8/layout/hList7#14"/>
    <dgm:cxn modelId="{5F727A9B-E546-49A8-9BAD-52132872C850}" srcId="{1046F4DB-CD29-45DD-8AA8-C6416D88E03B}" destId="{168533F7-F47A-4215-94E5-328ED239693F}" srcOrd="1" destOrd="0" parTransId="{F0B5D7E3-AAC6-4E4B-B712-9EA294E7DA8C}" sibTransId="{8C831F7D-3B5F-4374-A5FF-6079B6DFB30C}"/>
    <dgm:cxn modelId="{4D691572-5A41-4E32-8CB0-DBFEE0AA1F98}" srcId="{1046F4DB-CD29-45DD-8AA8-C6416D88E03B}" destId="{D6ADEC4C-20C3-4F89-AB26-EF4240CAF9FD}" srcOrd="2" destOrd="0" parTransId="{DDC8B099-4B77-486E-B0C1-618F6D9835BD}" sibTransId="{BF9D8A79-5EBB-4215-85D3-0ACFCE371B25}"/>
    <dgm:cxn modelId="{5394C336-38CE-41BA-9FC6-EAEB1FADA2CF}" type="presOf" srcId="{05D1B91A-6004-4DB8-8D56-70EBF925A3EF}" destId="{32E863C7-74AD-4569-B3E1-5D055923EB63}" srcOrd="1" destOrd="0" presId="urn:microsoft.com/office/officeart/2005/8/layout/hList7#14"/>
    <dgm:cxn modelId="{5D16CB9B-E232-4601-B34D-C9DF8F40A7D5}" type="presOf" srcId="{D0A01089-1C2D-45FE-9036-89208C7ED142}" destId="{0587256F-F1DA-402B-8C51-E8465B91FFC8}" srcOrd="1" destOrd="0" presId="urn:microsoft.com/office/officeart/2005/8/layout/hList7#14"/>
    <dgm:cxn modelId="{E8E3FE04-793D-488E-A900-B5EE4FB275D9}" type="presOf" srcId="{8C831F7D-3B5F-4374-A5FF-6079B6DFB30C}" destId="{0CEF6BEE-B9E3-4B56-847C-004AC5E71D43}" srcOrd="0" destOrd="0" presId="urn:microsoft.com/office/officeart/2005/8/layout/hList7#14"/>
    <dgm:cxn modelId="{55A54003-3DCA-4C30-9C9A-E4631F1049F6}" type="presOf" srcId="{9A962272-79F1-4B15-A042-E82B093D1134}" destId="{FB68DC7F-2369-4B6C-8F60-9A30C8DE995F}" srcOrd="0" destOrd="0" presId="urn:microsoft.com/office/officeart/2005/8/layout/hList7#14"/>
    <dgm:cxn modelId="{B4E8D8EB-C811-46D5-862C-8F1C24642E1C}" type="presOf" srcId="{168533F7-F47A-4215-94E5-328ED239693F}" destId="{E3CBDCB0-DB7B-4D6E-B59A-CB4918528DC3}" srcOrd="1" destOrd="0" presId="urn:microsoft.com/office/officeart/2005/8/layout/hList7#14"/>
    <dgm:cxn modelId="{3EFF3762-E18A-4C0C-8A20-DBA5F53A7DC2}" type="presOf" srcId="{168533F7-F47A-4215-94E5-328ED239693F}" destId="{C5BC063B-BC95-43FB-9981-87ED1FE4A46F}" srcOrd="0" destOrd="0" presId="urn:microsoft.com/office/officeart/2005/8/layout/hList7#14"/>
    <dgm:cxn modelId="{DAA3B80B-E006-4F59-B397-CB04127AA7CB}" type="presOf" srcId="{1046F4DB-CD29-45DD-8AA8-C6416D88E03B}" destId="{16B53DD7-2B92-4A82-A529-F6A5CC1ACE74}" srcOrd="0" destOrd="0" presId="urn:microsoft.com/office/officeart/2005/8/layout/hList7#14"/>
    <dgm:cxn modelId="{E8A5EE52-59AC-4488-86CA-47CD54667688}" type="presParOf" srcId="{16B53DD7-2B92-4A82-A529-F6A5CC1ACE74}" destId="{A8F80011-5C3E-4A75-9E18-294053D6A41E}" srcOrd="0" destOrd="0" presId="urn:microsoft.com/office/officeart/2005/8/layout/hList7#14"/>
    <dgm:cxn modelId="{1C7DA9EE-5F52-4100-AC6E-E0DED9DEE317}" type="presParOf" srcId="{16B53DD7-2B92-4A82-A529-F6A5CC1ACE74}" destId="{76842240-6407-4938-8A92-8205894BCD87}" srcOrd="1" destOrd="0" presId="urn:microsoft.com/office/officeart/2005/8/layout/hList7#14"/>
    <dgm:cxn modelId="{47F09196-6645-4990-A4B0-90C70ECF2FE0}" type="presParOf" srcId="{76842240-6407-4938-8A92-8205894BCD87}" destId="{DB974AA3-BFBE-4E52-A94B-0121A3B0F798}" srcOrd="0" destOrd="0" presId="urn:microsoft.com/office/officeart/2005/8/layout/hList7#14"/>
    <dgm:cxn modelId="{8D8DCDC1-B1F4-4B97-AAD6-3A746AFC8CD3}" type="presParOf" srcId="{DB974AA3-BFBE-4E52-A94B-0121A3B0F798}" destId="{A52B0564-185A-4332-83F2-5313C28FD4AC}" srcOrd="0" destOrd="0" presId="urn:microsoft.com/office/officeart/2005/8/layout/hList7#14"/>
    <dgm:cxn modelId="{6869D1D1-6E72-4E6C-AEEA-6D94ED825BD5}" type="presParOf" srcId="{DB974AA3-BFBE-4E52-A94B-0121A3B0F798}" destId="{32E863C7-74AD-4569-B3E1-5D055923EB63}" srcOrd="1" destOrd="0" presId="urn:microsoft.com/office/officeart/2005/8/layout/hList7#14"/>
    <dgm:cxn modelId="{DE530A67-62C9-4799-A233-08D69FEEE469}" type="presParOf" srcId="{DB974AA3-BFBE-4E52-A94B-0121A3B0F798}" destId="{33B10D98-DDEB-4780-8597-79331AAADF9D}" srcOrd="2" destOrd="0" presId="urn:microsoft.com/office/officeart/2005/8/layout/hList7#14"/>
    <dgm:cxn modelId="{2292C196-0A69-4064-9A76-CB53EC6167D3}" type="presParOf" srcId="{DB974AA3-BFBE-4E52-A94B-0121A3B0F798}" destId="{85061234-7935-41AA-A9A3-242D56FE983D}" srcOrd="3" destOrd="0" presId="urn:microsoft.com/office/officeart/2005/8/layout/hList7#14"/>
    <dgm:cxn modelId="{02D27F6F-885A-451F-8EAF-A80F6A7B22C2}" type="presParOf" srcId="{76842240-6407-4938-8A92-8205894BCD87}" destId="{FB68DC7F-2369-4B6C-8F60-9A30C8DE995F}" srcOrd="1" destOrd="0" presId="urn:microsoft.com/office/officeart/2005/8/layout/hList7#14"/>
    <dgm:cxn modelId="{029E407F-1E11-4E18-B37E-A6E00A7A4201}" type="presParOf" srcId="{76842240-6407-4938-8A92-8205894BCD87}" destId="{B4F1E6FB-B206-46DD-816A-068882C90A1F}" srcOrd="2" destOrd="0" presId="urn:microsoft.com/office/officeart/2005/8/layout/hList7#14"/>
    <dgm:cxn modelId="{6B46C6CB-3A34-4F58-ADC8-BF003BA6A386}" type="presParOf" srcId="{B4F1E6FB-B206-46DD-816A-068882C90A1F}" destId="{C5BC063B-BC95-43FB-9981-87ED1FE4A46F}" srcOrd="0" destOrd="0" presId="urn:microsoft.com/office/officeart/2005/8/layout/hList7#14"/>
    <dgm:cxn modelId="{F6641709-2E9B-4173-A732-EFFC097D2945}" type="presParOf" srcId="{B4F1E6FB-B206-46DD-816A-068882C90A1F}" destId="{E3CBDCB0-DB7B-4D6E-B59A-CB4918528DC3}" srcOrd="1" destOrd="0" presId="urn:microsoft.com/office/officeart/2005/8/layout/hList7#14"/>
    <dgm:cxn modelId="{1BCD2E56-3339-494A-BF69-14F23A5FEBF9}" type="presParOf" srcId="{B4F1E6FB-B206-46DD-816A-068882C90A1F}" destId="{786D8095-8430-41E9-94BB-A2059426112B}" srcOrd="2" destOrd="0" presId="urn:microsoft.com/office/officeart/2005/8/layout/hList7#14"/>
    <dgm:cxn modelId="{391EEE0F-1B6F-4467-99D2-78FC2A2AE88D}" type="presParOf" srcId="{B4F1E6FB-B206-46DD-816A-068882C90A1F}" destId="{995A5B8F-AB98-41AA-AB79-119C69C5F1C7}" srcOrd="3" destOrd="0" presId="urn:microsoft.com/office/officeart/2005/8/layout/hList7#14"/>
    <dgm:cxn modelId="{0E862373-F672-466F-9222-25E32DC53EDE}" type="presParOf" srcId="{76842240-6407-4938-8A92-8205894BCD87}" destId="{0CEF6BEE-B9E3-4B56-847C-004AC5E71D43}" srcOrd="3" destOrd="0" presId="urn:microsoft.com/office/officeart/2005/8/layout/hList7#14"/>
    <dgm:cxn modelId="{B020DAA5-D2B0-4DBF-9EA5-B0135F1BE567}" type="presParOf" srcId="{76842240-6407-4938-8A92-8205894BCD87}" destId="{966AC11A-398F-4E52-9C6A-034ED623CDBC}" srcOrd="4" destOrd="0" presId="urn:microsoft.com/office/officeart/2005/8/layout/hList7#14"/>
    <dgm:cxn modelId="{48E9C2EF-73B9-440F-9668-7B77A0E4CCFC}" type="presParOf" srcId="{966AC11A-398F-4E52-9C6A-034ED623CDBC}" destId="{70B190ED-C744-4308-BDD3-48E4106EE2F5}" srcOrd="0" destOrd="0" presId="urn:microsoft.com/office/officeart/2005/8/layout/hList7#14"/>
    <dgm:cxn modelId="{4BB91EBE-6D87-4A40-9432-0B48B64513B0}" type="presParOf" srcId="{966AC11A-398F-4E52-9C6A-034ED623CDBC}" destId="{45DFB4AF-61FB-465C-9FB9-7B9E53421258}" srcOrd="1" destOrd="0" presId="urn:microsoft.com/office/officeart/2005/8/layout/hList7#14"/>
    <dgm:cxn modelId="{E85D1B59-572F-4190-8FCE-24AE52C23F59}" type="presParOf" srcId="{966AC11A-398F-4E52-9C6A-034ED623CDBC}" destId="{F843D755-0ED7-412B-9305-4133896F2306}" srcOrd="2" destOrd="0" presId="urn:microsoft.com/office/officeart/2005/8/layout/hList7#14"/>
    <dgm:cxn modelId="{D56453A7-5E9E-4D71-93A0-E35F470F1060}" type="presParOf" srcId="{966AC11A-398F-4E52-9C6A-034ED623CDBC}" destId="{E27310D4-4F91-4859-93B7-51140B4E30CB}" srcOrd="3" destOrd="0" presId="urn:microsoft.com/office/officeart/2005/8/layout/hList7#14"/>
    <dgm:cxn modelId="{8AC32898-60E7-440F-B788-E5D2B9A9C41E}" type="presParOf" srcId="{76842240-6407-4938-8A92-8205894BCD87}" destId="{46DC3A55-4455-4000-955C-D879FD5B5A2C}" srcOrd="5" destOrd="0" presId="urn:microsoft.com/office/officeart/2005/8/layout/hList7#14"/>
    <dgm:cxn modelId="{2F8DD494-3CBD-46FC-90F9-C74101C3A22F}" type="presParOf" srcId="{76842240-6407-4938-8A92-8205894BCD87}" destId="{D928B018-2A4B-4B62-B81C-284ABEC80B0E}" srcOrd="6" destOrd="0" presId="urn:microsoft.com/office/officeart/2005/8/layout/hList7#14"/>
    <dgm:cxn modelId="{BA9BD59E-8798-468F-A2DF-85C3367BFD59}" type="presParOf" srcId="{D928B018-2A4B-4B62-B81C-284ABEC80B0E}" destId="{9CBB6EA3-B53C-401E-9F8E-A15B1472D93C}" srcOrd="0" destOrd="0" presId="urn:microsoft.com/office/officeart/2005/8/layout/hList7#14"/>
    <dgm:cxn modelId="{6F19A703-9308-4986-8797-62A6BC5CA990}" type="presParOf" srcId="{D928B018-2A4B-4B62-B81C-284ABEC80B0E}" destId="{0587256F-F1DA-402B-8C51-E8465B91FFC8}" srcOrd="1" destOrd="0" presId="urn:microsoft.com/office/officeart/2005/8/layout/hList7#14"/>
    <dgm:cxn modelId="{8BB225D2-3928-4B12-8479-0CF998FF61D4}" type="presParOf" srcId="{D928B018-2A4B-4B62-B81C-284ABEC80B0E}" destId="{4E50A4B3-14AB-49CF-A20B-824674E89198}" srcOrd="2" destOrd="0" presId="urn:microsoft.com/office/officeart/2005/8/layout/hList7#14"/>
    <dgm:cxn modelId="{151F6AAB-2592-4C7A-A3E1-E845CB380C8C}" type="presParOf" srcId="{D928B018-2A4B-4B62-B81C-284ABEC80B0E}" destId="{A32F777B-420A-4588-81CB-DB289BBF36E2}" srcOrd="3" destOrd="0" presId="urn:microsoft.com/office/officeart/2005/8/layout/hList7#14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046F4DB-CD29-45DD-8AA8-C6416D88E03B}" type="doc">
      <dgm:prSet loTypeId="urn:microsoft.com/office/officeart/2005/8/layout/hList7#15" loCatId="list" qsTypeId="urn:microsoft.com/office/officeart/2005/8/quickstyle/simple1" qsCatId="simple" csTypeId="urn:microsoft.com/office/officeart/2005/8/colors/accent1_2" csCatId="accent1" phldr="1"/>
      <dgm:spPr/>
    </dgm:pt>
    <dgm:pt modelId="{05D1B91A-6004-4DB8-8D56-70EBF925A3EF}">
      <dgm:prSet phldrT="[Texto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s-ES" sz="1600" dirty="0" smtClean="0">
              <a:latin typeface="Candara" pitchFamily="34" charset="0"/>
            </a:rPr>
            <a:t>Air </a:t>
          </a:r>
          <a:r>
            <a:rPr lang="es-ES" sz="1600" dirty="0" err="1" smtClean="0">
              <a:latin typeface="Candara" pitchFamily="34" charset="0"/>
            </a:rPr>
            <a:t>Emissions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7ABE6F06-1B72-4C0D-952F-D82B532CD682}" type="par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9A962272-79F1-4B15-A042-E82B093D1134}" type="sib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D6ADEC4C-20C3-4F89-AB26-EF4240CAF9F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Water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DDC8B099-4B77-486E-B0C1-618F6D9835BD}" type="parTrans" cxnId="{4D691572-5A41-4E32-8CB0-DBFEE0AA1F98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BF9D8A79-5EBB-4215-85D3-0ACFCE371B25}" type="sibTrans" cxnId="{4D691572-5A41-4E32-8CB0-DBFEE0AA1F98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16B53DD7-2B92-4A82-A529-F6A5CC1ACE74}" type="pres">
      <dgm:prSet presAssocID="{1046F4DB-CD29-45DD-8AA8-C6416D88E03B}" presName="Name0" presStyleCnt="0">
        <dgm:presLayoutVars>
          <dgm:dir/>
          <dgm:resizeHandles val="exact"/>
        </dgm:presLayoutVars>
      </dgm:prSet>
      <dgm:spPr/>
    </dgm:pt>
    <dgm:pt modelId="{A8F80011-5C3E-4A75-9E18-294053D6A41E}" type="pres">
      <dgm:prSet presAssocID="{1046F4DB-CD29-45DD-8AA8-C6416D88E03B}" presName="fgShape" presStyleLbl="fgShp" presStyleIdx="0" presStyleCnt="1" custScaleY="215345" custLinFactNeighborX="1863" custLinFactNeighborY="25398"/>
      <dgm:spPr>
        <a:solidFill>
          <a:schemeClr val="accent5">
            <a:lumMod val="50000"/>
          </a:schemeClr>
        </a:solidFill>
      </dgm:spPr>
    </dgm:pt>
    <dgm:pt modelId="{76842240-6407-4938-8A92-8205894BCD87}" type="pres">
      <dgm:prSet presAssocID="{1046F4DB-CD29-45DD-8AA8-C6416D88E03B}" presName="linComp" presStyleCnt="0"/>
      <dgm:spPr/>
    </dgm:pt>
    <dgm:pt modelId="{DB974AA3-BFBE-4E52-A94B-0121A3B0F798}" type="pres">
      <dgm:prSet presAssocID="{05D1B91A-6004-4DB8-8D56-70EBF925A3EF}" presName="compNode" presStyleCnt="0"/>
      <dgm:spPr/>
    </dgm:pt>
    <dgm:pt modelId="{A52B0564-185A-4332-83F2-5313C28FD4AC}" type="pres">
      <dgm:prSet presAssocID="{05D1B91A-6004-4DB8-8D56-70EBF925A3EF}" presName="bkgdShape" presStyleLbl="node1" presStyleIdx="0" presStyleCnt="2"/>
      <dgm:spPr/>
      <dgm:t>
        <a:bodyPr/>
        <a:lstStyle/>
        <a:p>
          <a:endParaRPr lang="es-ES"/>
        </a:p>
      </dgm:t>
    </dgm:pt>
    <dgm:pt modelId="{32E863C7-74AD-4569-B3E1-5D055923EB63}" type="pres">
      <dgm:prSet presAssocID="{05D1B91A-6004-4DB8-8D56-70EBF925A3EF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3B10D98-DDEB-4780-8597-79331AAADF9D}" type="pres">
      <dgm:prSet presAssocID="{05D1B91A-6004-4DB8-8D56-70EBF925A3EF}" presName="invisiNode" presStyleLbl="node1" presStyleIdx="0" presStyleCnt="2"/>
      <dgm:spPr/>
    </dgm:pt>
    <dgm:pt modelId="{85061234-7935-41AA-A9A3-242D56FE983D}" type="pres">
      <dgm:prSet presAssocID="{05D1B91A-6004-4DB8-8D56-70EBF925A3EF}" presName="imagNode" presStyleLbl="fgImgPlace1" presStyleIdx="0" presStyleCnt="2" custScaleX="132427" custScaleY="132427" custLinFactNeighborY="9029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B68DC7F-2369-4B6C-8F60-9A30C8DE995F}" type="pres">
      <dgm:prSet presAssocID="{9A962272-79F1-4B15-A042-E82B093D1134}" presName="sibTrans" presStyleLbl="sibTrans2D1" presStyleIdx="0" presStyleCnt="0"/>
      <dgm:spPr/>
      <dgm:t>
        <a:bodyPr/>
        <a:lstStyle/>
        <a:p>
          <a:endParaRPr lang="es-ES"/>
        </a:p>
      </dgm:t>
    </dgm:pt>
    <dgm:pt modelId="{966AC11A-398F-4E52-9C6A-034ED623CDBC}" type="pres">
      <dgm:prSet presAssocID="{D6ADEC4C-20C3-4F89-AB26-EF4240CAF9FD}" presName="compNode" presStyleCnt="0"/>
      <dgm:spPr/>
    </dgm:pt>
    <dgm:pt modelId="{70B190ED-C744-4308-BDD3-48E4106EE2F5}" type="pres">
      <dgm:prSet presAssocID="{D6ADEC4C-20C3-4F89-AB26-EF4240CAF9FD}" presName="bkgdShape" presStyleLbl="node1" presStyleIdx="1" presStyleCnt="2"/>
      <dgm:spPr/>
      <dgm:t>
        <a:bodyPr/>
        <a:lstStyle/>
        <a:p>
          <a:endParaRPr lang="es-ES"/>
        </a:p>
      </dgm:t>
    </dgm:pt>
    <dgm:pt modelId="{45DFB4AF-61FB-465C-9FB9-7B9E53421258}" type="pres">
      <dgm:prSet presAssocID="{D6ADEC4C-20C3-4F89-AB26-EF4240CAF9FD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843D755-0ED7-412B-9305-4133896F2306}" type="pres">
      <dgm:prSet presAssocID="{D6ADEC4C-20C3-4F89-AB26-EF4240CAF9FD}" presName="invisiNode" presStyleLbl="node1" presStyleIdx="1" presStyleCnt="2"/>
      <dgm:spPr/>
    </dgm:pt>
    <dgm:pt modelId="{E27310D4-4F91-4859-93B7-51140B4E30CB}" type="pres">
      <dgm:prSet presAssocID="{D6ADEC4C-20C3-4F89-AB26-EF4240CAF9FD}" presName="imagNode" presStyleLbl="fgImgPlace1" presStyleIdx="1" presStyleCnt="2" custScaleX="132427" custScaleY="132427" custLinFactNeighborY="9029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</dgm:ptLst>
  <dgm:cxnLst>
    <dgm:cxn modelId="{141AC978-7782-46F0-BE08-9603FF178955}" type="presOf" srcId="{D6ADEC4C-20C3-4F89-AB26-EF4240CAF9FD}" destId="{70B190ED-C744-4308-BDD3-48E4106EE2F5}" srcOrd="0" destOrd="0" presId="urn:microsoft.com/office/officeart/2005/8/layout/hList7#15"/>
    <dgm:cxn modelId="{4D691572-5A41-4E32-8CB0-DBFEE0AA1F98}" srcId="{1046F4DB-CD29-45DD-8AA8-C6416D88E03B}" destId="{D6ADEC4C-20C3-4F89-AB26-EF4240CAF9FD}" srcOrd="1" destOrd="0" parTransId="{DDC8B099-4B77-486E-B0C1-618F6D9835BD}" sibTransId="{BF9D8A79-5EBB-4215-85D3-0ACFCE371B25}"/>
    <dgm:cxn modelId="{AF062F39-E56E-489B-AE9D-16E4D6703AAF}" type="presOf" srcId="{9A962272-79F1-4B15-A042-E82B093D1134}" destId="{FB68DC7F-2369-4B6C-8F60-9A30C8DE995F}" srcOrd="0" destOrd="0" presId="urn:microsoft.com/office/officeart/2005/8/layout/hList7#15"/>
    <dgm:cxn modelId="{397CC88B-27BA-47A5-85E5-36CDC30DA2A4}" type="presOf" srcId="{05D1B91A-6004-4DB8-8D56-70EBF925A3EF}" destId="{32E863C7-74AD-4569-B3E1-5D055923EB63}" srcOrd="1" destOrd="0" presId="urn:microsoft.com/office/officeart/2005/8/layout/hList7#15"/>
    <dgm:cxn modelId="{930ED722-924A-4F8B-AE8B-9E980FE5959B}" type="presOf" srcId="{05D1B91A-6004-4DB8-8D56-70EBF925A3EF}" destId="{A52B0564-185A-4332-83F2-5313C28FD4AC}" srcOrd="0" destOrd="0" presId="urn:microsoft.com/office/officeart/2005/8/layout/hList7#15"/>
    <dgm:cxn modelId="{7EFA1F2E-296D-434B-B29D-23CF7A321B8B}" type="presOf" srcId="{D6ADEC4C-20C3-4F89-AB26-EF4240CAF9FD}" destId="{45DFB4AF-61FB-465C-9FB9-7B9E53421258}" srcOrd="1" destOrd="0" presId="urn:microsoft.com/office/officeart/2005/8/layout/hList7#15"/>
    <dgm:cxn modelId="{D7600675-FD0E-4884-A4E5-90B0CD218070}" type="presOf" srcId="{1046F4DB-CD29-45DD-8AA8-C6416D88E03B}" destId="{16B53DD7-2B92-4A82-A529-F6A5CC1ACE74}" srcOrd="0" destOrd="0" presId="urn:microsoft.com/office/officeart/2005/8/layout/hList7#15"/>
    <dgm:cxn modelId="{1B877FE3-1A94-4469-802D-C97036EB792E}" srcId="{1046F4DB-CD29-45DD-8AA8-C6416D88E03B}" destId="{05D1B91A-6004-4DB8-8D56-70EBF925A3EF}" srcOrd="0" destOrd="0" parTransId="{7ABE6F06-1B72-4C0D-952F-D82B532CD682}" sibTransId="{9A962272-79F1-4B15-A042-E82B093D1134}"/>
    <dgm:cxn modelId="{D6A1E368-E053-4FEC-92C6-48A1BB41EC28}" type="presParOf" srcId="{16B53DD7-2B92-4A82-A529-F6A5CC1ACE74}" destId="{A8F80011-5C3E-4A75-9E18-294053D6A41E}" srcOrd="0" destOrd="0" presId="urn:microsoft.com/office/officeart/2005/8/layout/hList7#15"/>
    <dgm:cxn modelId="{71810676-7CD6-41FC-A752-8CD02F898564}" type="presParOf" srcId="{16B53DD7-2B92-4A82-A529-F6A5CC1ACE74}" destId="{76842240-6407-4938-8A92-8205894BCD87}" srcOrd="1" destOrd="0" presId="urn:microsoft.com/office/officeart/2005/8/layout/hList7#15"/>
    <dgm:cxn modelId="{74BB061B-9EFF-4531-AF94-D53416D71C01}" type="presParOf" srcId="{76842240-6407-4938-8A92-8205894BCD87}" destId="{DB974AA3-BFBE-4E52-A94B-0121A3B0F798}" srcOrd="0" destOrd="0" presId="urn:microsoft.com/office/officeart/2005/8/layout/hList7#15"/>
    <dgm:cxn modelId="{FC1CB683-B94C-4780-A6C6-8C7C8300363D}" type="presParOf" srcId="{DB974AA3-BFBE-4E52-A94B-0121A3B0F798}" destId="{A52B0564-185A-4332-83F2-5313C28FD4AC}" srcOrd="0" destOrd="0" presId="urn:microsoft.com/office/officeart/2005/8/layout/hList7#15"/>
    <dgm:cxn modelId="{D28A621C-64FE-401B-9219-6B354C569DBA}" type="presParOf" srcId="{DB974AA3-BFBE-4E52-A94B-0121A3B0F798}" destId="{32E863C7-74AD-4569-B3E1-5D055923EB63}" srcOrd="1" destOrd="0" presId="urn:microsoft.com/office/officeart/2005/8/layout/hList7#15"/>
    <dgm:cxn modelId="{F06963AF-B610-4B21-A45A-56919D33A0D1}" type="presParOf" srcId="{DB974AA3-BFBE-4E52-A94B-0121A3B0F798}" destId="{33B10D98-DDEB-4780-8597-79331AAADF9D}" srcOrd="2" destOrd="0" presId="urn:microsoft.com/office/officeart/2005/8/layout/hList7#15"/>
    <dgm:cxn modelId="{8CEC0F09-D0B5-422B-BE5C-2737B6123159}" type="presParOf" srcId="{DB974AA3-BFBE-4E52-A94B-0121A3B0F798}" destId="{85061234-7935-41AA-A9A3-242D56FE983D}" srcOrd="3" destOrd="0" presId="urn:microsoft.com/office/officeart/2005/8/layout/hList7#15"/>
    <dgm:cxn modelId="{FEA7A736-8731-485C-A4D2-96DD3A14FB52}" type="presParOf" srcId="{76842240-6407-4938-8A92-8205894BCD87}" destId="{FB68DC7F-2369-4B6C-8F60-9A30C8DE995F}" srcOrd="1" destOrd="0" presId="urn:microsoft.com/office/officeart/2005/8/layout/hList7#15"/>
    <dgm:cxn modelId="{3694F744-979D-4754-819F-F1EA6F7C82A8}" type="presParOf" srcId="{76842240-6407-4938-8A92-8205894BCD87}" destId="{966AC11A-398F-4E52-9C6A-034ED623CDBC}" srcOrd="2" destOrd="0" presId="urn:microsoft.com/office/officeart/2005/8/layout/hList7#15"/>
    <dgm:cxn modelId="{26CB668B-A4EF-43D8-88D8-1E4C2F2CCD0C}" type="presParOf" srcId="{966AC11A-398F-4E52-9C6A-034ED623CDBC}" destId="{70B190ED-C744-4308-BDD3-48E4106EE2F5}" srcOrd="0" destOrd="0" presId="urn:microsoft.com/office/officeart/2005/8/layout/hList7#15"/>
    <dgm:cxn modelId="{345C7A74-7201-4381-B928-74AAC0B21E3E}" type="presParOf" srcId="{966AC11A-398F-4E52-9C6A-034ED623CDBC}" destId="{45DFB4AF-61FB-465C-9FB9-7B9E53421258}" srcOrd="1" destOrd="0" presId="urn:microsoft.com/office/officeart/2005/8/layout/hList7#15"/>
    <dgm:cxn modelId="{184FE374-CC47-4C82-A913-3F3408DFF5BF}" type="presParOf" srcId="{966AC11A-398F-4E52-9C6A-034ED623CDBC}" destId="{F843D755-0ED7-412B-9305-4133896F2306}" srcOrd="2" destOrd="0" presId="urn:microsoft.com/office/officeart/2005/8/layout/hList7#15"/>
    <dgm:cxn modelId="{CD86DCE5-BD36-46C5-BE86-1E8A1074B347}" type="presParOf" srcId="{966AC11A-398F-4E52-9C6A-034ED623CDBC}" destId="{E27310D4-4F91-4859-93B7-51140B4E30CB}" srcOrd="3" destOrd="0" presId="urn:microsoft.com/office/officeart/2005/8/layout/hList7#15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046F4DB-CD29-45DD-8AA8-C6416D88E03B}" type="doc">
      <dgm:prSet loTypeId="urn:microsoft.com/office/officeart/2005/8/layout/hList7#16" loCatId="list" qsTypeId="urn:microsoft.com/office/officeart/2005/8/quickstyle/simple1" qsCatId="simple" csTypeId="urn:microsoft.com/office/officeart/2005/8/colors/accent1_2" csCatId="accent1" phldr="1"/>
      <dgm:spPr/>
    </dgm:pt>
    <dgm:pt modelId="{05D1B91A-6004-4DB8-8D56-70EBF925A3EF}">
      <dgm:prSet phldrT="[Texto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s-ES" sz="1600" dirty="0" err="1" smtClean="0">
              <a:latin typeface="Candara" pitchFamily="34" charset="0"/>
            </a:rPr>
            <a:t>Environmental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Protection</a:t>
          </a:r>
          <a:r>
            <a:rPr lang="es-ES" sz="1600" dirty="0" smtClean="0">
              <a:latin typeface="Candara" pitchFamily="34" charset="0"/>
            </a:rPr>
            <a:t> Expenses </a:t>
          </a:r>
          <a:r>
            <a:rPr lang="es-ES" sz="1600" dirty="0" err="1" smtClean="0">
              <a:latin typeface="Candara" pitchFamily="34" charset="0"/>
            </a:rPr>
            <a:t>Account</a:t>
          </a:r>
          <a:endParaRPr lang="es-ES" sz="1600" dirty="0">
            <a:latin typeface="Candara" pitchFamily="34" charset="0"/>
          </a:endParaRPr>
        </a:p>
      </dgm:t>
    </dgm:pt>
    <dgm:pt modelId="{7ABE6F06-1B72-4C0D-952F-D82B532CD682}" type="par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9A962272-79F1-4B15-A042-E82B093D1134}" type="sib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16B53DD7-2B92-4A82-A529-F6A5CC1ACE74}" type="pres">
      <dgm:prSet presAssocID="{1046F4DB-CD29-45DD-8AA8-C6416D88E03B}" presName="Name0" presStyleCnt="0">
        <dgm:presLayoutVars>
          <dgm:dir/>
          <dgm:resizeHandles val="exact"/>
        </dgm:presLayoutVars>
      </dgm:prSet>
      <dgm:spPr/>
    </dgm:pt>
    <dgm:pt modelId="{A8F80011-5C3E-4A75-9E18-294053D6A41E}" type="pres">
      <dgm:prSet presAssocID="{1046F4DB-CD29-45DD-8AA8-C6416D88E03B}" presName="fgShape" presStyleLbl="fgShp" presStyleIdx="0" presStyleCnt="1" custScaleY="166561" custLinFactNeighborX="-207" custLinFactNeighborY="-5224"/>
      <dgm:spPr>
        <a:solidFill>
          <a:schemeClr val="accent5">
            <a:lumMod val="50000"/>
          </a:schemeClr>
        </a:solidFill>
      </dgm:spPr>
    </dgm:pt>
    <dgm:pt modelId="{76842240-6407-4938-8A92-8205894BCD87}" type="pres">
      <dgm:prSet presAssocID="{1046F4DB-CD29-45DD-8AA8-C6416D88E03B}" presName="linComp" presStyleCnt="0"/>
      <dgm:spPr/>
    </dgm:pt>
    <dgm:pt modelId="{DB974AA3-BFBE-4E52-A94B-0121A3B0F798}" type="pres">
      <dgm:prSet presAssocID="{05D1B91A-6004-4DB8-8D56-70EBF925A3EF}" presName="compNode" presStyleCnt="0"/>
      <dgm:spPr/>
    </dgm:pt>
    <dgm:pt modelId="{A52B0564-185A-4332-83F2-5313C28FD4AC}" type="pres">
      <dgm:prSet presAssocID="{05D1B91A-6004-4DB8-8D56-70EBF925A3EF}" presName="bkgdShape" presStyleLbl="node1" presStyleIdx="0" presStyleCnt="1" custLinFactNeighborX="-3827"/>
      <dgm:spPr/>
      <dgm:t>
        <a:bodyPr/>
        <a:lstStyle/>
        <a:p>
          <a:endParaRPr lang="es-ES"/>
        </a:p>
      </dgm:t>
    </dgm:pt>
    <dgm:pt modelId="{32E863C7-74AD-4569-B3E1-5D055923EB63}" type="pres">
      <dgm:prSet presAssocID="{05D1B91A-6004-4DB8-8D56-70EBF925A3EF}" presName="nodeTx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3B10D98-DDEB-4780-8597-79331AAADF9D}" type="pres">
      <dgm:prSet presAssocID="{05D1B91A-6004-4DB8-8D56-70EBF925A3EF}" presName="invisiNode" presStyleLbl="node1" presStyleIdx="0" presStyleCnt="1"/>
      <dgm:spPr/>
    </dgm:pt>
    <dgm:pt modelId="{85061234-7935-41AA-A9A3-242D56FE983D}" type="pres">
      <dgm:prSet presAssocID="{05D1B91A-6004-4DB8-8D56-70EBF925A3EF}" presName="imagNode" presStyleLbl="fgImgPlace1" presStyleIdx="0" presStyleCnt="1" custScaleX="119610" custScaleY="119610" custLinFactNeighborY="81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0F639EC9-66D8-41D5-A385-CE0E188A6532}" type="presOf" srcId="{1046F4DB-CD29-45DD-8AA8-C6416D88E03B}" destId="{16B53DD7-2B92-4A82-A529-F6A5CC1ACE74}" srcOrd="0" destOrd="0" presId="urn:microsoft.com/office/officeart/2005/8/layout/hList7#16"/>
    <dgm:cxn modelId="{1E98D001-BCB3-4520-82C9-18A755B5F8AE}" type="presOf" srcId="{05D1B91A-6004-4DB8-8D56-70EBF925A3EF}" destId="{32E863C7-74AD-4569-B3E1-5D055923EB63}" srcOrd="1" destOrd="0" presId="urn:microsoft.com/office/officeart/2005/8/layout/hList7#16"/>
    <dgm:cxn modelId="{BD132FF1-DFCD-40E1-9781-C363668FDA7E}" type="presOf" srcId="{05D1B91A-6004-4DB8-8D56-70EBF925A3EF}" destId="{A52B0564-185A-4332-83F2-5313C28FD4AC}" srcOrd="0" destOrd="0" presId="urn:microsoft.com/office/officeart/2005/8/layout/hList7#16"/>
    <dgm:cxn modelId="{1B877FE3-1A94-4469-802D-C97036EB792E}" srcId="{1046F4DB-CD29-45DD-8AA8-C6416D88E03B}" destId="{05D1B91A-6004-4DB8-8D56-70EBF925A3EF}" srcOrd="0" destOrd="0" parTransId="{7ABE6F06-1B72-4C0D-952F-D82B532CD682}" sibTransId="{9A962272-79F1-4B15-A042-E82B093D1134}"/>
    <dgm:cxn modelId="{FB1D1BB9-A0C4-4CD4-8EAB-D99E80FD3B20}" type="presParOf" srcId="{16B53DD7-2B92-4A82-A529-F6A5CC1ACE74}" destId="{A8F80011-5C3E-4A75-9E18-294053D6A41E}" srcOrd="0" destOrd="0" presId="urn:microsoft.com/office/officeart/2005/8/layout/hList7#16"/>
    <dgm:cxn modelId="{62C46874-A457-4B1D-8BBC-F8D95793167B}" type="presParOf" srcId="{16B53DD7-2B92-4A82-A529-F6A5CC1ACE74}" destId="{76842240-6407-4938-8A92-8205894BCD87}" srcOrd="1" destOrd="0" presId="urn:microsoft.com/office/officeart/2005/8/layout/hList7#16"/>
    <dgm:cxn modelId="{3CC7C8E9-B7A0-4E2E-8540-B0B9C3DA4DC8}" type="presParOf" srcId="{76842240-6407-4938-8A92-8205894BCD87}" destId="{DB974AA3-BFBE-4E52-A94B-0121A3B0F798}" srcOrd="0" destOrd="0" presId="urn:microsoft.com/office/officeart/2005/8/layout/hList7#16"/>
    <dgm:cxn modelId="{1D756312-B113-4E6C-A66A-A244B8FC45E1}" type="presParOf" srcId="{DB974AA3-BFBE-4E52-A94B-0121A3B0F798}" destId="{A52B0564-185A-4332-83F2-5313C28FD4AC}" srcOrd="0" destOrd="0" presId="urn:microsoft.com/office/officeart/2005/8/layout/hList7#16"/>
    <dgm:cxn modelId="{7498F3E1-AC45-4C9A-84AF-5C4EAAB0FC1E}" type="presParOf" srcId="{DB974AA3-BFBE-4E52-A94B-0121A3B0F798}" destId="{32E863C7-74AD-4569-B3E1-5D055923EB63}" srcOrd="1" destOrd="0" presId="urn:microsoft.com/office/officeart/2005/8/layout/hList7#16"/>
    <dgm:cxn modelId="{7ACB2CF6-73B0-4185-9135-55F18C280063}" type="presParOf" srcId="{DB974AA3-BFBE-4E52-A94B-0121A3B0F798}" destId="{33B10D98-DDEB-4780-8597-79331AAADF9D}" srcOrd="2" destOrd="0" presId="urn:microsoft.com/office/officeart/2005/8/layout/hList7#16"/>
    <dgm:cxn modelId="{C8F2224B-59DC-43E9-B518-1A59A28040E3}" type="presParOf" srcId="{DB974AA3-BFBE-4E52-A94B-0121A3B0F798}" destId="{85061234-7935-41AA-A9A3-242D56FE983D}" srcOrd="3" destOrd="0" presId="urn:microsoft.com/office/officeart/2005/8/layout/hList7#16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046F4DB-CD29-45DD-8AA8-C6416D88E03B}" type="doc">
      <dgm:prSet loTypeId="urn:microsoft.com/office/officeart/2005/8/layout/hList7#16" loCatId="list" qsTypeId="urn:microsoft.com/office/officeart/2005/8/quickstyle/simple1" qsCatId="simple" csTypeId="urn:microsoft.com/office/officeart/2005/8/colors/accent1_2" csCatId="accent1" phldr="1"/>
      <dgm:spPr/>
    </dgm:pt>
    <dgm:pt modelId="{05D1B91A-6004-4DB8-8D56-70EBF925A3EF}">
      <dgm:prSet phldrT="[Texto]" custT="1"/>
      <dgm:spPr>
        <a:solidFill>
          <a:srgbClr val="339933"/>
        </a:solidFill>
      </dgm:spPr>
      <dgm:t>
        <a:bodyPr/>
        <a:lstStyle/>
        <a:p>
          <a:r>
            <a:rPr lang="es-ES" sz="1600" dirty="0" smtClean="0">
              <a:latin typeface="Candara" pitchFamily="34" charset="0"/>
            </a:rPr>
            <a:t>Experimental </a:t>
          </a:r>
          <a:r>
            <a:rPr lang="es-ES" sz="1600" dirty="0" err="1" smtClean="0">
              <a:latin typeface="Candara" pitchFamily="34" charset="0"/>
            </a:rPr>
            <a:t>Ecosystems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Account</a:t>
          </a:r>
          <a:r>
            <a:rPr lang="es-ES" sz="1600" dirty="0" smtClean="0">
              <a:latin typeface="Candara" pitchFamily="34" charset="0"/>
            </a:rPr>
            <a:t>: </a:t>
          </a:r>
          <a:r>
            <a:rPr lang="es-ES" sz="1600" dirty="0" err="1" smtClean="0">
              <a:latin typeface="Candara" pitchFamily="34" charset="0"/>
            </a:rPr>
            <a:t>Scoping</a:t>
          </a:r>
          <a:r>
            <a:rPr lang="es-ES" sz="1600" dirty="0" smtClean="0">
              <a:latin typeface="Candara" pitchFamily="34" charset="0"/>
            </a:rPr>
            <a:t> </a:t>
          </a:r>
          <a:r>
            <a:rPr lang="es-ES" sz="1600" dirty="0" err="1" smtClean="0">
              <a:latin typeface="Candara" pitchFamily="34" charset="0"/>
            </a:rPr>
            <a:t>phase</a:t>
          </a:r>
          <a:endParaRPr lang="es-ES" sz="1600" dirty="0">
            <a:latin typeface="Candara" pitchFamily="34" charset="0"/>
          </a:endParaRPr>
        </a:p>
      </dgm:t>
    </dgm:pt>
    <dgm:pt modelId="{7ABE6F06-1B72-4C0D-952F-D82B532CD682}" type="par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9A962272-79F1-4B15-A042-E82B093D1134}" type="sibTrans" cxnId="{1B877FE3-1A94-4469-802D-C97036EB792E}">
      <dgm:prSet/>
      <dgm:spPr/>
      <dgm:t>
        <a:bodyPr/>
        <a:lstStyle/>
        <a:p>
          <a:endParaRPr lang="es-ES" sz="1600">
            <a:latin typeface="Candara" pitchFamily="34" charset="0"/>
          </a:endParaRPr>
        </a:p>
      </dgm:t>
    </dgm:pt>
    <dgm:pt modelId="{16B53DD7-2B92-4A82-A529-F6A5CC1ACE74}" type="pres">
      <dgm:prSet presAssocID="{1046F4DB-CD29-45DD-8AA8-C6416D88E03B}" presName="Name0" presStyleCnt="0">
        <dgm:presLayoutVars>
          <dgm:dir/>
          <dgm:resizeHandles val="exact"/>
        </dgm:presLayoutVars>
      </dgm:prSet>
      <dgm:spPr/>
    </dgm:pt>
    <dgm:pt modelId="{A8F80011-5C3E-4A75-9E18-294053D6A41E}" type="pres">
      <dgm:prSet presAssocID="{1046F4DB-CD29-45DD-8AA8-C6416D88E03B}" presName="fgShape" presStyleLbl="fgShp" presStyleIdx="0" presStyleCnt="1" custScaleY="166561" custLinFactNeighborX="-207" custLinFactNeighborY="-5224"/>
      <dgm:spPr>
        <a:solidFill>
          <a:schemeClr val="accent5">
            <a:lumMod val="50000"/>
          </a:schemeClr>
        </a:solidFill>
      </dgm:spPr>
    </dgm:pt>
    <dgm:pt modelId="{76842240-6407-4938-8A92-8205894BCD87}" type="pres">
      <dgm:prSet presAssocID="{1046F4DB-CD29-45DD-8AA8-C6416D88E03B}" presName="linComp" presStyleCnt="0"/>
      <dgm:spPr/>
    </dgm:pt>
    <dgm:pt modelId="{DB974AA3-BFBE-4E52-A94B-0121A3B0F798}" type="pres">
      <dgm:prSet presAssocID="{05D1B91A-6004-4DB8-8D56-70EBF925A3EF}" presName="compNode" presStyleCnt="0"/>
      <dgm:spPr/>
    </dgm:pt>
    <dgm:pt modelId="{A52B0564-185A-4332-83F2-5313C28FD4AC}" type="pres">
      <dgm:prSet presAssocID="{05D1B91A-6004-4DB8-8D56-70EBF925A3EF}" presName="bkgdShape" presStyleLbl="node1" presStyleIdx="0" presStyleCnt="1" custLinFactNeighborX="-2818"/>
      <dgm:spPr/>
      <dgm:t>
        <a:bodyPr/>
        <a:lstStyle/>
        <a:p>
          <a:endParaRPr lang="es-ES"/>
        </a:p>
      </dgm:t>
    </dgm:pt>
    <dgm:pt modelId="{32E863C7-74AD-4569-B3E1-5D055923EB63}" type="pres">
      <dgm:prSet presAssocID="{05D1B91A-6004-4DB8-8D56-70EBF925A3EF}" presName="nodeTx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3B10D98-DDEB-4780-8597-79331AAADF9D}" type="pres">
      <dgm:prSet presAssocID="{05D1B91A-6004-4DB8-8D56-70EBF925A3EF}" presName="invisiNode" presStyleLbl="node1" presStyleIdx="0" presStyleCnt="1"/>
      <dgm:spPr/>
    </dgm:pt>
    <dgm:pt modelId="{85061234-7935-41AA-A9A3-242D56FE983D}" type="pres">
      <dgm:prSet presAssocID="{05D1B91A-6004-4DB8-8D56-70EBF925A3EF}" presName="imagNode" presStyleLbl="fgImgPlace1" presStyleIdx="0" presStyleCnt="1" custScaleX="124476" custScaleY="124476" custLinFactNeighborX="2150" custLinFactNeighborY="-527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F864F615-C986-4411-8FD2-5AA59D2CB735}" type="presOf" srcId="{05D1B91A-6004-4DB8-8D56-70EBF925A3EF}" destId="{A52B0564-185A-4332-83F2-5313C28FD4AC}" srcOrd="0" destOrd="0" presId="urn:microsoft.com/office/officeart/2005/8/layout/hList7#16"/>
    <dgm:cxn modelId="{03F9647B-0C1B-4138-986C-FE85517A1658}" type="presOf" srcId="{05D1B91A-6004-4DB8-8D56-70EBF925A3EF}" destId="{32E863C7-74AD-4569-B3E1-5D055923EB63}" srcOrd="1" destOrd="0" presId="urn:microsoft.com/office/officeart/2005/8/layout/hList7#16"/>
    <dgm:cxn modelId="{A2AF1BC2-A761-46BB-B0A5-8E26DDD846BE}" type="presOf" srcId="{1046F4DB-CD29-45DD-8AA8-C6416D88E03B}" destId="{16B53DD7-2B92-4A82-A529-F6A5CC1ACE74}" srcOrd="0" destOrd="0" presId="urn:microsoft.com/office/officeart/2005/8/layout/hList7#16"/>
    <dgm:cxn modelId="{1B877FE3-1A94-4469-802D-C97036EB792E}" srcId="{1046F4DB-CD29-45DD-8AA8-C6416D88E03B}" destId="{05D1B91A-6004-4DB8-8D56-70EBF925A3EF}" srcOrd="0" destOrd="0" parTransId="{7ABE6F06-1B72-4C0D-952F-D82B532CD682}" sibTransId="{9A962272-79F1-4B15-A042-E82B093D1134}"/>
    <dgm:cxn modelId="{34F0EB71-34CD-4018-B255-72EE7BBF737C}" type="presParOf" srcId="{16B53DD7-2B92-4A82-A529-F6A5CC1ACE74}" destId="{A8F80011-5C3E-4A75-9E18-294053D6A41E}" srcOrd="0" destOrd="0" presId="urn:microsoft.com/office/officeart/2005/8/layout/hList7#16"/>
    <dgm:cxn modelId="{DCA62920-D6DC-4B4D-8391-9C1B006E4D77}" type="presParOf" srcId="{16B53DD7-2B92-4A82-A529-F6A5CC1ACE74}" destId="{76842240-6407-4938-8A92-8205894BCD87}" srcOrd="1" destOrd="0" presId="urn:microsoft.com/office/officeart/2005/8/layout/hList7#16"/>
    <dgm:cxn modelId="{20443E8C-AD1C-4D00-A597-035E93629BB6}" type="presParOf" srcId="{76842240-6407-4938-8A92-8205894BCD87}" destId="{DB974AA3-BFBE-4E52-A94B-0121A3B0F798}" srcOrd="0" destOrd="0" presId="urn:microsoft.com/office/officeart/2005/8/layout/hList7#16"/>
    <dgm:cxn modelId="{8651E409-C351-40C1-8484-C396DBD83B64}" type="presParOf" srcId="{DB974AA3-BFBE-4E52-A94B-0121A3B0F798}" destId="{A52B0564-185A-4332-83F2-5313C28FD4AC}" srcOrd="0" destOrd="0" presId="urn:microsoft.com/office/officeart/2005/8/layout/hList7#16"/>
    <dgm:cxn modelId="{74E57511-4E99-4B43-8179-12CC272AD503}" type="presParOf" srcId="{DB974AA3-BFBE-4E52-A94B-0121A3B0F798}" destId="{32E863C7-74AD-4569-B3E1-5D055923EB63}" srcOrd="1" destOrd="0" presId="urn:microsoft.com/office/officeart/2005/8/layout/hList7#16"/>
    <dgm:cxn modelId="{EE708345-4923-4130-A18E-3BF6E4092197}" type="presParOf" srcId="{DB974AA3-BFBE-4E52-A94B-0121A3B0F798}" destId="{33B10D98-DDEB-4780-8597-79331AAADF9D}" srcOrd="2" destOrd="0" presId="urn:microsoft.com/office/officeart/2005/8/layout/hList7#16"/>
    <dgm:cxn modelId="{EA2C3397-D74B-4B2F-B479-223718611E3D}" type="presParOf" srcId="{DB974AA3-BFBE-4E52-A94B-0121A3B0F798}" destId="{85061234-7935-41AA-A9A3-242D56FE983D}" srcOrd="3" destOrd="0" presId="urn:microsoft.com/office/officeart/2005/8/layout/hList7#16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xmlns="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0EDA7A7-AEC7-4EB4-9AA0-5FBEC2E7E7ED}">
      <dsp:nvSpPr>
        <dsp:cNvPr id="0" name=""/>
        <dsp:cNvSpPr/>
      </dsp:nvSpPr>
      <dsp:spPr>
        <a:xfrm rot="5400000">
          <a:off x="373088" y="1229004"/>
          <a:ext cx="1150572" cy="130988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gradFill rotWithShape="0">
          <a:gsLst>
            <a:gs pos="0">
              <a:schemeClr val="accent3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566F183C-7019-4089-96FC-932235F366CF}">
      <dsp:nvSpPr>
        <dsp:cNvPr id="0" name=""/>
        <dsp:cNvSpPr/>
      </dsp:nvSpPr>
      <dsp:spPr>
        <a:xfrm>
          <a:off x="27588" y="333914"/>
          <a:ext cx="1307843" cy="915448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300" kern="1200" dirty="0" smtClean="0"/>
            <a:t>Art. 14 and 400</a:t>
          </a:r>
          <a:endParaRPr lang="es-EC" sz="2300" kern="1200" dirty="0"/>
        </a:p>
      </dsp:txBody>
      <dsp:txXfrm>
        <a:off x="27588" y="333914"/>
        <a:ext cx="1307843" cy="915448"/>
      </dsp:txXfrm>
    </dsp:sp>
    <dsp:sp modelId="{8F2AFE8D-5D25-4F21-A3EC-E7A44EFAFB15}">
      <dsp:nvSpPr>
        <dsp:cNvPr id="0" name=""/>
        <dsp:cNvSpPr/>
      </dsp:nvSpPr>
      <dsp:spPr>
        <a:xfrm>
          <a:off x="1384386" y="289611"/>
          <a:ext cx="3666200" cy="10957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C" sz="1800" kern="1200" dirty="0"/>
        </a:p>
      </dsp:txBody>
      <dsp:txXfrm>
        <a:off x="1384386" y="289611"/>
        <a:ext cx="3666200" cy="1095782"/>
      </dsp:txXfrm>
    </dsp:sp>
    <dsp:sp modelId="{E9A2A5B3-8C7A-401E-B6A6-2D9FD324F42D}">
      <dsp:nvSpPr>
        <dsp:cNvPr id="0" name=""/>
        <dsp:cNvSpPr/>
      </dsp:nvSpPr>
      <dsp:spPr>
        <a:xfrm rot="5400000">
          <a:off x="2295322" y="2773217"/>
          <a:ext cx="1150572" cy="1309885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gradFill rotWithShape="0">
          <a:gsLst>
            <a:gs pos="0">
              <a:schemeClr val="accent3">
                <a:tint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tint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tint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1AC47BE7-EB63-47D1-B344-2C1420ED6B14}">
      <dsp:nvSpPr>
        <dsp:cNvPr id="0" name=""/>
        <dsp:cNvSpPr/>
      </dsp:nvSpPr>
      <dsp:spPr>
        <a:xfrm>
          <a:off x="1661361" y="1800758"/>
          <a:ext cx="1290973" cy="935133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300" kern="1200" dirty="0" smtClean="0"/>
            <a:t>Art. 313</a:t>
          </a:r>
          <a:endParaRPr lang="es-EC" sz="2300" kern="1200" dirty="0"/>
        </a:p>
      </dsp:txBody>
      <dsp:txXfrm>
        <a:off x="1661361" y="1800758"/>
        <a:ext cx="1290973" cy="935133"/>
      </dsp:txXfrm>
    </dsp:sp>
    <dsp:sp modelId="{DF7A3C32-6E08-4F98-8F0F-2C176BC53BC3}">
      <dsp:nvSpPr>
        <dsp:cNvPr id="0" name=""/>
        <dsp:cNvSpPr/>
      </dsp:nvSpPr>
      <dsp:spPr>
        <a:xfrm>
          <a:off x="3745276" y="2016280"/>
          <a:ext cx="1408706" cy="10957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CA35AC-A933-4F3B-82ED-D072540408CF}">
      <dsp:nvSpPr>
        <dsp:cNvPr id="0" name=""/>
        <dsp:cNvSpPr/>
      </dsp:nvSpPr>
      <dsp:spPr>
        <a:xfrm>
          <a:off x="3662214" y="3405036"/>
          <a:ext cx="1307843" cy="915448"/>
        </a:xfrm>
        <a:prstGeom prst="roundRect">
          <a:avLst>
            <a:gd name="adj" fmla="val 166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300" kern="1200" dirty="0" smtClean="0"/>
            <a:t>Art. 395</a:t>
          </a:r>
          <a:endParaRPr lang="es-EC" sz="2300" kern="1200" dirty="0"/>
        </a:p>
      </dsp:txBody>
      <dsp:txXfrm>
        <a:off x="3662214" y="3405036"/>
        <a:ext cx="1307843" cy="915448"/>
      </dsp:txXfrm>
    </dsp:sp>
    <dsp:sp modelId="{2F9228A0-C4B4-4C28-A6CA-560D0E53F30A}">
      <dsp:nvSpPr>
        <dsp:cNvPr id="0" name=""/>
        <dsp:cNvSpPr/>
      </dsp:nvSpPr>
      <dsp:spPr>
        <a:xfrm>
          <a:off x="3240364" y="1728188"/>
          <a:ext cx="3677455" cy="10957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C" sz="1800" kern="1200" dirty="0"/>
        </a:p>
      </dsp:txBody>
      <dsp:txXfrm>
        <a:off x="3240364" y="1728188"/>
        <a:ext cx="3677455" cy="1095782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9AD6CA3-9253-481B-B443-00B86A36E33A}">
      <dsp:nvSpPr>
        <dsp:cNvPr id="0" name=""/>
        <dsp:cNvSpPr/>
      </dsp:nvSpPr>
      <dsp:spPr>
        <a:xfrm>
          <a:off x="0" y="0"/>
          <a:ext cx="1954904" cy="3784806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936" tIns="376936" rIns="376936" bIns="376936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C" sz="5300" kern="1200"/>
        </a:p>
      </dsp:txBody>
      <dsp:txXfrm>
        <a:off x="0" y="1513922"/>
        <a:ext cx="1954904" cy="1513922"/>
      </dsp:txXfrm>
    </dsp:sp>
    <dsp:sp modelId="{50AD52C5-19AC-4FA5-B081-BE88EF1D6D14}">
      <dsp:nvSpPr>
        <dsp:cNvPr id="0" name=""/>
        <dsp:cNvSpPr/>
      </dsp:nvSpPr>
      <dsp:spPr>
        <a:xfrm>
          <a:off x="347282" y="227088"/>
          <a:ext cx="1260340" cy="1260340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8E7A6C-1756-4EC9-BB8C-4CCB9216B07E}">
      <dsp:nvSpPr>
        <dsp:cNvPr id="0" name=""/>
        <dsp:cNvSpPr/>
      </dsp:nvSpPr>
      <dsp:spPr>
        <a:xfrm>
          <a:off x="2013551" y="0"/>
          <a:ext cx="1954904" cy="3784806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-16594"/>
            <a:satOff val="-3364"/>
            <a:lumOff val="185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936" tIns="376936" rIns="376936" bIns="376936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C" sz="5300" kern="1200"/>
        </a:p>
      </dsp:txBody>
      <dsp:txXfrm>
        <a:off x="2013551" y="1513922"/>
        <a:ext cx="1954904" cy="1513922"/>
      </dsp:txXfrm>
    </dsp:sp>
    <dsp:sp modelId="{1C65D727-7489-4731-9AF6-C2F598E35C16}">
      <dsp:nvSpPr>
        <dsp:cNvPr id="0" name=""/>
        <dsp:cNvSpPr/>
      </dsp:nvSpPr>
      <dsp:spPr>
        <a:xfrm>
          <a:off x="2360833" y="227088"/>
          <a:ext cx="1260340" cy="1260340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6BC1F1-9F8F-4F66-8072-5C6D73D4B38D}">
      <dsp:nvSpPr>
        <dsp:cNvPr id="0" name=""/>
        <dsp:cNvSpPr/>
      </dsp:nvSpPr>
      <dsp:spPr>
        <a:xfrm>
          <a:off x="4027103" y="0"/>
          <a:ext cx="1954904" cy="3784806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-33187"/>
            <a:satOff val="-6727"/>
            <a:lumOff val="3700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936" tIns="376936" rIns="376936" bIns="376936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C" sz="5300" kern="1200" dirty="0"/>
        </a:p>
      </dsp:txBody>
      <dsp:txXfrm>
        <a:off x="4027103" y="1513922"/>
        <a:ext cx="1954904" cy="1513922"/>
      </dsp:txXfrm>
    </dsp:sp>
    <dsp:sp modelId="{1B14FB50-CBA7-4AE1-9C08-17DADC5B2062}">
      <dsp:nvSpPr>
        <dsp:cNvPr id="0" name=""/>
        <dsp:cNvSpPr/>
      </dsp:nvSpPr>
      <dsp:spPr>
        <a:xfrm>
          <a:off x="4374385" y="227088"/>
          <a:ext cx="1260340" cy="1260340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9DBAD3-3623-445F-A189-A213353C9414}">
      <dsp:nvSpPr>
        <dsp:cNvPr id="0" name=""/>
        <dsp:cNvSpPr/>
      </dsp:nvSpPr>
      <dsp:spPr>
        <a:xfrm>
          <a:off x="6040655" y="0"/>
          <a:ext cx="1954904" cy="3784806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-33187"/>
            <a:satOff val="-6727"/>
            <a:lumOff val="3700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936" tIns="376936" rIns="376936" bIns="376936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5300" kern="1200" dirty="0" smtClean="0"/>
            <a:t> </a:t>
          </a:r>
          <a:endParaRPr lang="es-EC" sz="5300" kern="1200" dirty="0"/>
        </a:p>
      </dsp:txBody>
      <dsp:txXfrm>
        <a:off x="6040655" y="1513922"/>
        <a:ext cx="1954904" cy="1513922"/>
      </dsp:txXfrm>
    </dsp:sp>
    <dsp:sp modelId="{DF82A35F-5E0A-4AC6-812A-AF24B4663C16}">
      <dsp:nvSpPr>
        <dsp:cNvPr id="0" name=""/>
        <dsp:cNvSpPr/>
      </dsp:nvSpPr>
      <dsp:spPr>
        <a:xfrm>
          <a:off x="6387937" y="227088"/>
          <a:ext cx="1260340" cy="1260340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0E7187-51A5-453B-A522-105B0ED67346}">
      <dsp:nvSpPr>
        <dsp:cNvPr id="0" name=""/>
        <dsp:cNvSpPr/>
      </dsp:nvSpPr>
      <dsp:spPr>
        <a:xfrm>
          <a:off x="8054207" y="0"/>
          <a:ext cx="1954904" cy="3784806"/>
        </a:xfrm>
        <a:prstGeom prst="roundRect">
          <a:avLst>
            <a:gd name="adj" fmla="val 10000"/>
          </a:avLst>
        </a:prstGeom>
        <a:solidFill>
          <a:schemeClr val="accent2">
            <a:shade val="50000"/>
            <a:hueOff val="-16594"/>
            <a:satOff val="-3364"/>
            <a:lumOff val="185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6936" tIns="376936" rIns="376936" bIns="376936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5300" kern="1200" dirty="0" smtClean="0"/>
            <a:t> </a:t>
          </a:r>
          <a:endParaRPr lang="es-EC" sz="5300" kern="1200" dirty="0"/>
        </a:p>
      </dsp:txBody>
      <dsp:txXfrm>
        <a:off x="8054207" y="1513922"/>
        <a:ext cx="1954904" cy="1513922"/>
      </dsp:txXfrm>
    </dsp:sp>
    <dsp:sp modelId="{DD46C917-469C-4A97-AD5B-8903BC8790BE}">
      <dsp:nvSpPr>
        <dsp:cNvPr id="0" name=""/>
        <dsp:cNvSpPr/>
      </dsp:nvSpPr>
      <dsp:spPr>
        <a:xfrm>
          <a:off x="8401489" y="227088"/>
          <a:ext cx="1260340" cy="1260340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t="-15000" b="-1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7293B9-A768-414D-90C7-B6B2492495EA}">
      <dsp:nvSpPr>
        <dsp:cNvPr id="0" name=""/>
        <dsp:cNvSpPr/>
      </dsp:nvSpPr>
      <dsp:spPr>
        <a:xfrm>
          <a:off x="400364" y="2780803"/>
          <a:ext cx="9208383" cy="728425"/>
        </a:xfrm>
        <a:prstGeom prst="leftRightArrow">
          <a:avLst/>
        </a:prstGeom>
        <a:solidFill>
          <a:schemeClr val="accent2"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C0332C5-850E-4FFE-A133-4582C1203E99}">
      <dsp:nvSpPr>
        <dsp:cNvPr id="0" name=""/>
        <dsp:cNvSpPr/>
      </dsp:nvSpPr>
      <dsp:spPr>
        <a:xfrm>
          <a:off x="360034" y="0"/>
          <a:ext cx="10513178" cy="999620"/>
        </a:xfrm>
        <a:prstGeom prst="leftRightRibbon">
          <a:avLst/>
        </a:prstGeom>
        <a:solidFill>
          <a:schemeClr val="accent3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B24A1B-F298-4F88-86E0-6430632FCBE5}">
      <dsp:nvSpPr>
        <dsp:cNvPr id="0" name=""/>
        <dsp:cNvSpPr/>
      </dsp:nvSpPr>
      <dsp:spPr>
        <a:xfrm>
          <a:off x="936103" y="172180"/>
          <a:ext cx="4215401" cy="489813"/>
        </a:xfrm>
        <a:prstGeom prst="rect">
          <a:avLst/>
        </a:prstGeom>
        <a:noFill/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56896" rIns="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/>
            <a:t>NATIONAL BIODIVERSITY </a:t>
          </a:r>
          <a:r>
            <a:rPr lang="es-EC" sz="1800" b="1" kern="1200" dirty="0" smtClean="0"/>
            <a:t>STRATEGY</a:t>
          </a:r>
          <a:r>
            <a:rPr lang="es-EC" sz="1600" b="1" kern="1200" dirty="0" smtClean="0"/>
            <a:t> 2014 - 2030</a:t>
          </a:r>
          <a:endParaRPr lang="es-EC" sz="1600" b="1" kern="1200" dirty="0"/>
        </a:p>
      </dsp:txBody>
      <dsp:txXfrm>
        <a:off x="936103" y="172180"/>
        <a:ext cx="4215401" cy="489813"/>
      </dsp:txXfrm>
    </dsp:sp>
    <dsp:sp modelId="{8EA4A4D7-E05D-4AC7-9384-B56C14C2E680}">
      <dsp:nvSpPr>
        <dsp:cNvPr id="0" name=""/>
        <dsp:cNvSpPr/>
      </dsp:nvSpPr>
      <dsp:spPr>
        <a:xfrm>
          <a:off x="5832645" y="334872"/>
          <a:ext cx="3973691" cy="489813"/>
        </a:xfrm>
        <a:prstGeom prst="rect">
          <a:avLst/>
        </a:prstGeom>
        <a:noFill/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64008" rIns="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/>
            <a:t>NATIONAL PLAN 2014 - 2020</a:t>
          </a:r>
          <a:endParaRPr lang="es-EC" sz="1800" b="1" kern="1200" dirty="0"/>
        </a:p>
      </dsp:txBody>
      <dsp:txXfrm>
        <a:off x="5832645" y="334872"/>
        <a:ext cx="3973691" cy="489813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14DBB50-2ACD-460D-A3E4-E9DE4C58472E}">
      <dsp:nvSpPr>
        <dsp:cNvPr id="0" name=""/>
        <dsp:cNvSpPr/>
      </dsp:nvSpPr>
      <dsp:spPr>
        <a:xfrm>
          <a:off x="0" y="526868"/>
          <a:ext cx="11739962" cy="702491"/>
        </a:xfrm>
        <a:prstGeom prst="notchedRightArrow">
          <a:avLst/>
        </a:prstGeom>
        <a:gradFill flip="none" rotWithShape="1">
          <a:gsLst>
            <a:gs pos="0">
              <a:srgbClr val="66FF66"/>
            </a:gs>
            <a:gs pos="0">
              <a:schemeClr val="accent6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rgbClr val="00CC00"/>
            </a:gs>
          </a:gsLst>
          <a:lin ang="0" scaled="1"/>
          <a:tileRect/>
        </a:gradFill>
        <a:ln>
          <a:noFill/>
        </a:ln>
        <a:effectLst>
          <a:outerShdw blurRad="50800" dist="38100" algn="l" rotWithShape="0">
            <a:prstClr val="black">
              <a:alpha val="4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EDB68A8B-C5B3-4248-B557-3F0510F64330}">
      <dsp:nvSpPr>
        <dsp:cNvPr id="0" name=""/>
        <dsp:cNvSpPr/>
      </dsp:nvSpPr>
      <dsp:spPr>
        <a:xfrm>
          <a:off x="106518" y="0"/>
          <a:ext cx="2087474" cy="7024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b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/>
            <a:t>2007</a:t>
          </a:r>
          <a:endParaRPr lang="es-EC" sz="2400" b="1" kern="1200" dirty="0"/>
        </a:p>
      </dsp:txBody>
      <dsp:txXfrm>
        <a:off x="106518" y="0"/>
        <a:ext cx="2087474" cy="702491"/>
      </dsp:txXfrm>
    </dsp:sp>
    <dsp:sp modelId="{F4D01933-CC65-4B01-93F6-11E409D84BBB}">
      <dsp:nvSpPr>
        <dsp:cNvPr id="0" name=""/>
        <dsp:cNvSpPr/>
      </dsp:nvSpPr>
      <dsp:spPr>
        <a:xfrm>
          <a:off x="971508" y="790302"/>
          <a:ext cx="175622" cy="175622"/>
        </a:xfrm>
        <a:prstGeom prst="ellipse">
          <a:avLst/>
        </a:prstGeom>
        <a:solidFill>
          <a:srgbClr val="FF99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45DE3EF-3E61-4B6F-B295-13F661E1F6A0}">
      <dsp:nvSpPr>
        <dsp:cNvPr id="0" name=""/>
        <dsp:cNvSpPr/>
      </dsp:nvSpPr>
      <dsp:spPr>
        <a:xfrm>
          <a:off x="2114102" y="1053736"/>
          <a:ext cx="2543467" cy="7024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/>
            <a:t>2008</a:t>
          </a:r>
          <a:endParaRPr lang="es-EC" sz="2400" b="1" kern="1200" dirty="0"/>
        </a:p>
      </dsp:txBody>
      <dsp:txXfrm>
        <a:off x="2114102" y="1053736"/>
        <a:ext cx="2543467" cy="702491"/>
      </dsp:txXfrm>
    </dsp:sp>
    <dsp:sp modelId="{7814B473-3A63-4994-B070-23DE30E99673}">
      <dsp:nvSpPr>
        <dsp:cNvPr id="0" name=""/>
        <dsp:cNvSpPr/>
      </dsp:nvSpPr>
      <dsp:spPr>
        <a:xfrm>
          <a:off x="3322853" y="790302"/>
          <a:ext cx="175622" cy="175622"/>
        </a:xfrm>
        <a:prstGeom prst="ellipse">
          <a:avLst/>
        </a:prstGeom>
        <a:solidFill>
          <a:srgbClr val="FF99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8BD950F-53ED-4214-831B-0DAEDB395C91}">
      <dsp:nvSpPr>
        <dsp:cNvPr id="0" name=""/>
        <dsp:cNvSpPr/>
      </dsp:nvSpPr>
      <dsp:spPr>
        <a:xfrm>
          <a:off x="4389946" y="0"/>
          <a:ext cx="2543467" cy="7024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b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/>
            <a:t>2009</a:t>
          </a:r>
          <a:endParaRPr lang="es-EC" sz="2400" b="1" kern="1200" dirty="0"/>
        </a:p>
      </dsp:txBody>
      <dsp:txXfrm>
        <a:off x="4389946" y="0"/>
        <a:ext cx="2543467" cy="702491"/>
      </dsp:txXfrm>
    </dsp:sp>
    <dsp:sp modelId="{50937E70-C5BD-46B7-BF61-A68E1B4EBC7A}">
      <dsp:nvSpPr>
        <dsp:cNvPr id="0" name=""/>
        <dsp:cNvSpPr/>
      </dsp:nvSpPr>
      <dsp:spPr>
        <a:xfrm>
          <a:off x="5616143" y="790302"/>
          <a:ext cx="175622" cy="175622"/>
        </a:xfrm>
        <a:prstGeom prst="ellipse">
          <a:avLst/>
        </a:prstGeom>
        <a:solidFill>
          <a:srgbClr val="FF99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5571779-7FF0-411B-BBD1-132C8E07ED23}">
      <dsp:nvSpPr>
        <dsp:cNvPr id="0" name=""/>
        <dsp:cNvSpPr/>
      </dsp:nvSpPr>
      <dsp:spPr>
        <a:xfrm>
          <a:off x="7177612" y="1053736"/>
          <a:ext cx="2543467" cy="7024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/>
            <a:t>2013…</a:t>
          </a:r>
          <a:endParaRPr lang="es-EC" sz="2400" b="1" kern="1200" dirty="0"/>
        </a:p>
      </dsp:txBody>
      <dsp:txXfrm>
        <a:off x="7177612" y="1053736"/>
        <a:ext cx="2543467" cy="702491"/>
      </dsp:txXfrm>
    </dsp:sp>
    <dsp:sp modelId="{469D2C6C-F86C-4729-B6B2-8E601CA7F2C4}">
      <dsp:nvSpPr>
        <dsp:cNvPr id="0" name=""/>
        <dsp:cNvSpPr/>
      </dsp:nvSpPr>
      <dsp:spPr>
        <a:xfrm>
          <a:off x="8228706" y="790302"/>
          <a:ext cx="175622" cy="175622"/>
        </a:xfrm>
        <a:prstGeom prst="ellipse">
          <a:avLst/>
        </a:prstGeom>
        <a:solidFill>
          <a:srgbClr val="FF99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3D89CFE-B0F6-4C50-B51B-81AF21E90B59}">
      <dsp:nvSpPr>
        <dsp:cNvPr id="0" name=""/>
        <dsp:cNvSpPr/>
      </dsp:nvSpPr>
      <dsp:spPr>
        <a:xfrm>
          <a:off x="733870" y="1831"/>
          <a:ext cx="3442593" cy="1115782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700" b="0" kern="1200" dirty="0" err="1" smtClean="0"/>
            <a:t>Strategy</a:t>
          </a:r>
          <a:r>
            <a:rPr lang="es-EC" sz="1700" b="0" kern="1200" dirty="0" smtClean="0"/>
            <a:t> of </a:t>
          </a:r>
          <a:r>
            <a:rPr lang="es-EC" sz="1700" b="0" kern="1200" dirty="0" err="1" smtClean="0"/>
            <a:t>Acumulation</a:t>
          </a:r>
          <a:r>
            <a:rPr lang="es-EC" sz="1700" b="0" kern="1200" dirty="0" smtClean="0"/>
            <a:t>, </a:t>
          </a:r>
          <a:r>
            <a:rPr lang="es-EC" sz="1700" b="0" kern="1200" dirty="0" err="1" smtClean="0"/>
            <a:t>Distribution</a:t>
          </a:r>
          <a:r>
            <a:rPr lang="es-EC" sz="1700" b="0" kern="1200" dirty="0" smtClean="0"/>
            <a:t> and </a:t>
          </a:r>
          <a:r>
            <a:rPr lang="es-EC" sz="1700" b="0" kern="1200" dirty="0" err="1" smtClean="0"/>
            <a:t>Redistribution</a:t>
          </a:r>
          <a:r>
            <a:rPr lang="es-EC" sz="1700" b="0" kern="1200" dirty="0" smtClean="0"/>
            <a:t> of </a:t>
          </a:r>
          <a:r>
            <a:rPr lang="es-EC" sz="1700" b="0" kern="1200" dirty="0" err="1" smtClean="0"/>
            <a:t>wealth</a:t>
          </a:r>
          <a:endParaRPr lang="es-EC" sz="1600" b="0" kern="1200" dirty="0"/>
        </a:p>
      </dsp:txBody>
      <dsp:txXfrm>
        <a:off x="733870" y="1831"/>
        <a:ext cx="3442593" cy="1115782"/>
      </dsp:txXfrm>
    </dsp:sp>
    <dsp:sp modelId="{90E3CBE1-B78E-4000-9380-657D66724B10}">
      <dsp:nvSpPr>
        <dsp:cNvPr id="0" name=""/>
        <dsp:cNvSpPr/>
      </dsp:nvSpPr>
      <dsp:spPr>
        <a:xfrm>
          <a:off x="0" y="57240"/>
          <a:ext cx="702896" cy="1004965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450" tIns="85725" rIns="171450" bIns="8572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4500" b="0" kern="1200" dirty="0" smtClean="0"/>
            <a:t>1</a:t>
          </a:r>
          <a:endParaRPr lang="es-EC" sz="4500" b="0" kern="1200" dirty="0"/>
        </a:p>
      </dsp:txBody>
      <dsp:txXfrm>
        <a:off x="0" y="57240"/>
        <a:ext cx="702896" cy="1004965"/>
      </dsp:txXfrm>
    </dsp:sp>
    <dsp:sp modelId="{17425118-094F-4F3C-8981-B949638ECB64}">
      <dsp:nvSpPr>
        <dsp:cNvPr id="0" name=""/>
        <dsp:cNvSpPr/>
      </dsp:nvSpPr>
      <dsp:spPr>
        <a:xfrm>
          <a:off x="730505" y="1218111"/>
          <a:ext cx="3445958" cy="1004965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5358425"/>
            <a:satOff val="-6896"/>
            <a:lumOff val="-537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5358425"/>
              <a:satOff val="-6896"/>
              <a:lumOff val="-53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C" sz="1600" b="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700" b="0" kern="1200" dirty="0" err="1" smtClean="0"/>
            <a:t>National</a:t>
          </a:r>
          <a:r>
            <a:rPr lang="es-EC" sz="1700" b="0" kern="1200" dirty="0" smtClean="0"/>
            <a:t> Territorial </a:t>
          </a:r>
          <a:r>
            <a:rPr lang="es-EC" sz="1700" b="0" kern="1200" dirty="0" err="1" smtClean="0"/>
            <a:t>Strategy</a:t>
          </a:r>
          <a:endParaRPr lang="es-EC" sz="1700" b="0" kern="1200" dirty="0"/>
        </a:p>
      </dsp:txBody>
      <dsp:txXfrm>
        <a:off x="730505" y="1218111"/>
        <a:ext cx="3445958" cy="1004965"/>
      </dsp:txXfrm>
    </dsp:sp>
    <dsp:sp modelId="{DE9796ED-6998-4290-89AA-92F7109067AB}">
      <dsp:nvSpPr>
        <dsp:cNvPr id="0" name=""/>
        <dsp:cNvSpPr/>
      </dsp:nvSpPr>
      <dsp:spPr>
        <a:xfrm>
          <a:off x="0" y="1218111"/>
          <a:ext cx="703583" cy="1004965"/>
        </a:xfrm>
        <a:prstGeom prst="roundRect">
          <a:avLst/>
        </a:prstGeom>
        <a:gradFill rotWithShape="0">
          <a:gsLst>
            <a:gs pos="0">
              <a:schemeClr val="accent3">
                <a:hueOff val="5625132"/>
                <a:satOff val="-8440"/>
                <a:lumOff val="-1373"/>
                <a:alphaOff val="0"/>
                <a:shade val="51000"/>
                <a:satMod val="130000"/>
              </a:schemeClr>
            </a:gs>
            <a:gs pos="80000">
              <a:schemeClr val="accent3">
                <a:hueOff val="5625132"/>
                <a:satOff val="-8440"/>
                <a:lumOff val="-1373"/>
                <a:alphaOff val="0"/>
                <a:shade val="93000"/>
                <a:satMod val="130000"/>
              </a:schemeClr>
            </a:gs>
            <a:gs pos="100000">
              <a:schemeClr val="accent3">
                <a:hueOff val="5625132"/>
                <a:satOff val="-8440"/>
                <a:lumOff val="-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450" tIns="85725" rIns="171450" bIns="8572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4500" b="0" kern="1200" dirty="0" smtClean="0"/>
            <a:t>2</a:t>
          </a:r>
          <a:endParaRPr lang="es-EC" sz="4500" b="0" kern="1200" dirty="0"/>
        </a:p>
      </dsp:txBody>
      <dsp:txXfrm>
        <a:off x="0" y="1218111"/>
        <a:ext cx="703583" cy="1004965"/>
      </dsp:txXfrm>
    </dsp:sp>
    <dsp:sp modelId="{08D482E9-5116-41F4-92DC-C94479BC8BA5}">
      <dsp:nvSpPr>
        <dsp:cNvPr id="0" name=""/>
        <dsp:cNvSpPr/>
      </dsp:nvSpPr>
      <dsp:spPr>
        <a:xfrm>
          <a:off x="730505" y="2323572"/>
          <a:ext cx="3445958" cy="1004965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10716850"/>
            <a:satOff val="-13793"/>
            <a:lumOff val="-1075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10716850"/>
              <a:satOff val="-13793"/>
              <a:lumOff val="-107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700" b="0" kern="1200" dirty="0" smtClean="0"/>
            <a:t>12 </a:t>
          </a:r>
          <a:r>
            <a:rPr lang="es-EC" sz="1700" b="0" kern="1200" dirty="0" err="1" smtClean="0"/>
            <a:t>National</a:t>
          </a:r>
          <a:r>
            <a:rPr lang="es-EC" sz="1700" b="0" kern="1200" dirty="0" smtClean="0"/>
            <a:t> </a:t>
          </a:r>
          <a:r>
            <a:rPr lang="es-EC" sz="1700" b="0" kern="1200" dirty="0" err="1" smtClean="0"/>
            <a:t>Objectives</a:t>
          </a:r>
          <a:r>
            <a:rPr lang="es-EC" sz="1700" b="0" kern="1200" dirty="0" smtClean="0"/>
            <a:t>, </a:t>
          </a:r>
          <a:r>
            <a:rPr lang="es-EC" sz="1700" b="0" kern="1200" dirty="0" err="1" smtClean="0"/>
            <a:t>divided</a:t>
          </a:r>
          <a:r>
            <a:rPr lang="es-EC" sz="1700" b="0" kern="1200" dirty="0" smtClean="0"/>
            <a:t> in 3 axis</a:t>
          </a:r>
          <a:endParaRPr lang="es-EC" sz="1600" b="0" kern="1200" dirty="0"/>
        </a:p>
      </dsp:txBody>
      <dsp:txXfrm>
        <a:off x="730505" y="2323572"/>
        <a:ext cx="3445958" cy="1004965"/>
      </dsp:txXfrm>
    </dsp:sp>
    <dsp:sp modelId="{A4D3A435-E35A-4E84-9780-5A55EBB48617}">
      <dsp:nvSpPr>
        <dsp:cNvPr id="0" name=""/>
        <dsp:cNvSpPr/>
      </dsp:nvSpPr>
      <dsp:spPr>
        <a:xfrm>
          <a:off x="0" y="2323572"/>
          <a:ext cx="703583" cy="1004965"/>
        </a:xfrm>
        <a:prstGeom prst="roundRect">
          <a:avLst/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1450" tIns="85725" rIns="171450" bIns="85725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4500" b="0" kern="1200" dirty="0" smtClean="0"/>
            <a:t>3</a:t>
          </a:r>
          <a:endParaRPr lang="es-EC" sz="4500" b="0" kern="1200" dirty="0"/>
        </a:p>
      </dsp:txBody>
      <dsp:txXfrm>
        <a:off x="0" y="2323572"/>
        <a:ext cx="703583" cy="1004965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0D4ECEE-FE21-4E66-9EE1-CA24AC210DE3}">
      <dsp:nvSpPr>
        <dsp:cNvPr id="0" name=""/>
        <dsp:cNvSpPr/>
      </dsp:nvSpPr>
      <dsp:spPr>
        <a:xfrm>
          <a:off x="0" y="3478551"/>
          <a:ext cx="8312472" cy="14895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chemeClr val="tx1"/>
              </a:solidFill>
            </a:rPr>
            <a:t>Environmental Quality</a:t>
          </a:r>
          <a:endParaRPr lang="es-EC" sz="2600" kern="1200" dirty="0"/>
        </a:p>
      </dsp:txBody>
      <dsp:txXfrm>
        <a:off x="0" y="3478551"/>
        <a:ext cx="2493741" cy="1489585"/>
      </dsp:txXfrm>
    </dsp:sp>
    <dsp:sp modelId="{18161ABD-C08C-49FF-9409-730760630627}">
      <dsp:nvSpPr>
        <dsp:cNvPr id="0" name=""/>
        <dsp:cNvSpPr/>
      </dsp:nvSpPr>
      <dsp:spPr>
        <a:xfrm>
          <a:off x="0" y="1739483"/>
          <a:ext cx="8312472" cy="14895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chemeClr val="tx1"/>
              </a:solidFill>
            </a:rPr>
            <a:t>Ecosystem - Environmental Services</a:t>
          </a:r>
          <a:endParaRPr lang="es-EC" sz="2600" kern="1200" dirty="0"/>
        </a:p>
      </dsp:txBody>
      <dsp:txXfrm>
        <a:off x="0" y="1739483"/>
        <a:ext cx="2493741" cy="1489585"/>
      </dsp:txXfrm>
    </dsp:sp>
    <dsp:sp modelId="{69BA99A0-05B7-42C8-ABAF-5B4CB0467C57}">
      <dsp:nvSpPr>
        <dsp:cNvPr id="0" name=""/>
        <dsp:cNvSpPr/>
      </dsp:nvSpPr>
      <dsp:spPr>
        <a:xfrm>
          <a:off x="0" y="415"/>
          <a:ext cx="8312472" cy="148958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smtClean="0"/>
            <a:t>Environmental Goods</a:t>
          </a:r>
          <a:endParaRPr lang="es-EC" sz="2600" kern="1200" dirty="0"/>
        </a:p>
      </dsp:txBody>
      <dsp:txXfrm>
        <a:off x="0" y="415"/>
        <a:ext cx="2493741" cy="1489585"/>
      </dsp:txXfrm>
    </dsp:sp>
    <dsp:sp modelId="{F118FA27-96E5-4600-9B24-1D9D19664C0E}">
      <dsp:nvSpPr>
        <dsp:cNvPr id="0" name=""/>
        <dsp:cNvSpPr/>
      </dsp:nvSpPr>
      <dsp:spPr>
        <a:xfrm>
          <a:off x="2480916" y="125156"/>
          <a:ext cx="1871117" cy="12474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Genetic Resources</a:t>
          </a:r>
          <a:endParaRPr lang="es-EC" sz="2100" kern="1200" dirty="0"/>
        </a:p>
      </dsp:txBody>
      <dsp:txXfrm>
        <a:off x="2480916" y="125156"/>
        <a:ext cx="1871117" cy="1247411"/>
      </dsp:txXfrm>
    </dsp:sp>
    <dsp:sp modelId="{6F2D470C-4D9C-4299-8035-098219AB9C7C}">
      <dsp:nvSpPr>
        <dsp:cNvPr id="0" name=""/>
        <dsp:cNvSpPr/>
      </dsp:nvSpPr>
      <dsp:spPr>
        <a:xfrm>
          <a:off x="3416475" y="1372568"/>
          <a:ext cx="1903507" cy="4989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482"/>
              </a:lnTo>
              <a:lnTo>
                <a:pt x="1903507" y="249482"/>
              </a:lnTo>
              <a:lnTo>
                <a:pt x="1903507" y="498964"/>
              </a:lnTo>
            </a:path>
          </a:pathLst>
        </a:custGeom>
        <a:noFill/>
        <a:ln w="25400" cap="flat" cmpd="sng" algn="ctr">
          <a:solidFill>
            <a:schemeClr val="bg1"/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7EC9F-50F5-4D84-98CD-25AF9D25DCC5}">
      <dsp:nvSpPr>
        <dsp:cNvPr id="0" name=""/>
        <dsp:cNvSpPr/>
      </dsp:nvSpPr>
      <dsp:spPr>
        <a:xfrm>
          <a:off x="4384423" y="1871533"/>
          <a:ext cx="1871117" cy="12474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Ecosystem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Management</a:t>
          </a:r>
          <a:endParaRPr lang="es-EC" sz="2100" b="1" kern="1200" dirty="0" smtClean="0"/>
        </a:p>
      </dsp:txBody>
      <dsp:txXfrm>
        <a:off x="4384423" y="1871533"/>
        <a:ext cx="1871117" cy="1247411"/>
      </dsp:txXfrm>
    </dsp:sp>
    <dsp:sp modelId="{D97E0A21-CE1D-44F4-AE5B-A45E0721C9CA}">
      <dsp:nvSpPr>
        <dsp:cNvPr id="0" name=""/>
        <dsp:cNvSpPr/>
      </dsp:nvSpPr>
      <dsp:spPr>
        <a:xfrm>
          <a:off x="4103755" y="3118945"/>
          <a:ext cx="1216226" cy="498964"/>
        </a:xfrm>
        <a:custGeom>
          <a:avLst/>
          <a:gdLst/>
          <a:ahLst/>
          <a:cxnLst/>
          <a:rect l="0" t="0" r="0" b="0"/>
          <a:pathLst>
            <a:path>
              <a:moveTo>
                <a:pt x="1216226" y="0"/>
              </a:moveTo>
              <a:lnTo>
                <a:pt x="1216226" y="249482"/>
              </a:lnTo>
              <a:lnTo>
                <a:pt x="0" y="249482"/>
              </a:lnTo>
              <a:lnTo>
                <a:pt x="0" y="498964"/>
              </a:lnTo>
            </a:path>
          </a:pathLst>
        </a:custGeom>
        <a:noFill/>
        <a:ln w="25400" cap="flat" cmpd="sng" algn="ctr">
          <a:solidFill>
            <a:schemeClr val="bg1"/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34D858-9E70-4936-A38D-E7F381B7AB20}">
      <dsp:nvSpPr>
        <dsp:cNvPr id="0" name=""/>
        <dsp:cNvSpPr/>
      </dsp:nvSpPr>
      <dsp:spPr>
        <a:xfrm>
          <a:off x="3168196" y="3617910"/>
          <a:ext cx="1871117" cy="12474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Solid Wast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Management</a:t>
          </a:r>
          <a:endParaRPr lang="es-EC" sz="2100" b="1" kern="1200" dirty="0" smtClean="0"/>
        </a:p>
      </dsp:txBody>
      <dsp:txXfrm>
        <a:off x="3168196" y="3617910"/>
        <a:ext cx="1871117" cy="1247411"/>
      </dsp:txXfrm>
    </dsp:sp>
    <dsp:sp modelId="{D1C564EA-7344-4C21-909E-AEF53C23B2F1}">
      <dsp:nvSpPr>
        <dsp:cNvPr id="0" name=""/>
        <dsp:cNvSpPr/>
      </dsp:nvSpPr>
      <dsp:spPr>
        <a:xfrm>
          <a:off x="5319982" y="3118945"/>
          <a:ext cx="1216226" cy="4989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9482"/>
              </a:lnTo>
              <a:lnTo>
                <a:pt x="1216226" y="249482"/>
              </a:lnTo>
              <a:lnTo>
                <a:pt x="1216226" y="498964"/>
              </a:lnTo>
            </a:path>
          </a:pathLst>
        </a:custGeom>
        <a:noFill/>
        <a:ln w="25400" cap="flat" cmpd="sng" algn="ctr">
          <a:solidFill>
            <a:schemeClr val="bg1"/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BB10F0-5D6D-4DB3-8682-A8ECBD30A512}">
      <dsp:nvSpPr>
        <dsp:cNvPr id="0" name=""/>
        <dsp:cNvSpPr/>
      </dsp:nvSpPr>
      <dsp:spPr>
        <a:xfrm>
          <a:off x="5600649" y="3617910"/>
          <a:ext cx="1871117" cy="12474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/>
            <a:t>Best Environmental Practices</a:t>
          </a:r>
          <a:endParaRPr lang="es-EC" sz="2100" b="1" kern="1200" dirty="0" smtClean="0"/>
        </a:p>
      </dsp:txBody>
      <dsp:txXfrm>
        <a:off x="5600649" y="3617910"/>
        <a:ext cx="1871117" cy="1247411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6E4A3A0-3E99-460F-A278-75B1F9A244D6}">
      <dsp:nvSpPr>
        <dsp:cNvPr id="0" name=""/>
        <dsp:cNvSpPr/>
      </dsp:nvSpPr>
      <dsp:spPr>
        <a:xfrm>
          <a:off x="3028760" y="2781"/>
          <a:ext cx="4532073" cy="2429756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smtClean="0"/>
            <a:t>PNBV 2013-2017</a:t>
          </a:r>
          <a:endParaRPr lang="en-US" sz="1600" kern="1200" noProof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err="1" smtClean="0"/>
            <a:t>Sectoral</a:t>
          </a:r>
          <a:r>
            <a:rPr lang="en-US" sz="1600" kern="1200" noProof="0" dirty="0" smtClean="0"/>
            <a:t> and inter-</a:t>
          </a:r>
          <a:r>
            <a:rPr lang="en-US" sz="1600" kern="1200" noProof="0" dirty="0" err="1" smtClean="0"/>
            <a:t>sectoral</a:t>
          </a:r>
          <a:r>
            <a:rPr lang="en-US" sz="1600" kern="1200" noProof="0" dirty="0" smtClean="0"/>
            <a:t> policies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Regional Plans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smtClean="0"/>
            <a:t>Development and local zoning  Plans</a:t>
          </a:r>
          <a:endParaRPr lang="en-US" sz="1600" kern="1200" noProof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National Policy on Governance of the Natural Heritage</a:t>
          </a:r>
          <a:endParaRPr lang="en-US" sz="1600" kern="1200" noProof="0" dirty="0"/>
        </a:p>
      </dsp:txBody>
      <dsp:txXfrm>
        <a:off x="3028760" y="2781"/>
        <a:ext cx="4532073" cy="2429756"/>
      </dsp:txXfrm>
    </dsp:sp>
    <dsp:sp modelId="{4C58F032-86EC-491E-8894-6BC028A01B89}">
      <dsp:nvSpPr>
        <dsp:cNvPr id="0" name=""/>
        <dsp:cNvSpPr/>
      </dsp:nvSpPr>
      <dsp:spPr>
        <a:xfrm>
          <a:off x="3691" y="340238"/>
          <a:ext cx="3021382" cy="1754843"/>
        </a:xfrm>
        <a:prstGeom prst="roundRect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4000" kern="1200" dirty="0" err="1" smtClean="0"/>
            <a:t>Planning</a:t>
          </a:r>
          <a:endParaRPr lang="es-EC" sz="4000" kern="1200" dirty="0"/>
        </a:p>
      </dsp:txBody>
      <dsp:txXfrm>
        <a:off x="3691" y="340238"/>
        <a:ext cx="3021382" cy="1754843"/>
      </dsp:txXfrm>
    </dsp:sp>
    <dsp:sp modelId="{AA1E2935-3F36-4230-8A01-2840FFA9DEBC}">
      <dsp:nvSpPr>
        <dsp:cNvPr id="0" name=""/>
        <dsp:cNvSpPr/>
      </dsp:nvSpPr>
      <dsp:spPr>
        <a:xfrm>
          <a:off x="3025074" y="2608022"/>
          <a:ext cx="4532073" cy="2429756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National System on Environmental Accounting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Desegregate public expenses related to the environmental policy (biodiversity)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Assessment of biodiversity and Ecosystem services: TEEB and others</a:t>
          </a:r>
          <a:endParaRPr lang="en-US" sz="1600" kern="1200" noProof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noProof="0" dirty="0" smtClean="0"/>
            <a:t>BIOFIN</a:t>
          </a:r>
          <a:endParaRPr lang="en-US" sz="1600" kern="1200" noProof="0" dirty="0"/>
        </a:p>
      </dsp:txBody>
      <dsp:txXfrm>
        <a:off x="3025074" y="2608022"/>
        <a:ext cx="4532073" cy="2429756"/>
      </dsp:txXfrm>
    </dsp:sp>
    <dsp:sp modelId="{C189EAC5-B110-497C-A327-F404AC86F96D}">
      <dsp:nvSpPr>
        <dsp:cNvPr id="0" name=""/>
        <dsp:cNvSpPr/>
      </dsp:nvSpPr>
      <dsp:spPr>
        <a:xfrm>
          <a:off x="3691" y="2945478"/>
          <a:ext cx="3021382" cy="1754843"/>
        </a:xfrm>
        <a:prstGeom prst="roundRect">
          <a:avLst/>
        </a:prstGeom>
        <a:gradFill rotWithShape="0">
          <a:gsLst>
            <a:gs pos="0">
              <a:schemeClr val="accent3">
                <a:shade val="50000"/>
                <a:hueOff val="267555"/>
                <a:satOff val="-4269"/>
                <a:lumOff val="41107"/>
                <a:alphaOff val="0"/>
                <a:shade val="51000"/>
                <a:satMod val="130000"/>
              </a:schemeClr>
            </a:gs>
            <a:gs pos="80000">
              <a:schemeClr val="accent3">
                <a:shade val="50000"/>
                <a:hueOff val="267555"/>
                <a:satOff val="-4269"/>
                <a:lumOff val="41107"/>
                <a:alphaOff val="0"/>
                <a:shade val="93000"/>
                <a:satMod val="130000"/>
              </a:schemeClr>
            </a:gs>
            <a:gs pos="100000">
              <a:schemeClr val="accent3">
                <a:shade val="50000"/>
                <a:hueOff val="267555"/>
                <a:satOff val="-4269"/>
                <a:lumOff val="411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4000" kern="1200" dirty="0" err="1" smtClean="0"/>
            <a:t>Finance</a:t>
          </a:r>
          <a:endParaRPr lang="es-EC" sz="4000" kern="1200" dirty="0"/>
        </a:p>
      </dsp:txBody>
      <dsp:txXfrm>
        <a:off x="3691" y="2945478"/>
        <a:ext cx="3021382" cy="1754843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2B0564-185A-4332-83F2-5313C28FD4AC}">
      <dsp:nvSpPr>
        <dsp:cNvPr id="0" name=""/>
        <dsp:cNvSpPr/>
      </dsp:nvSpPr>
      <dsp:spPr>
        <a:xfrm>
          <a:off x="1846" y="-23400"/>
          <a:ext cx="1935742" cy="2376264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Oil</a:t>
          </a:r>
          <a:r>
            <a:rPr lang="es-ES" sz="1600" kern="1200" dirty="0" smtClean="0">
              <a:latin typeface="Candara" pitchFamily="34" charset="0"/>
            </a:rPr>
            <a:t> and Natural Gas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1846" y="927105"/>
        <a:ext cx="1935742" cy="950505"/>
      </dsp:txXfrm>
    </dsp:sp>
    <dsp:sp modelId="{85061234-7935-41AA-A9A3-242D56FE983D}">
      <dsp:nvSpPr>
        <dsp:cNvPr id="0" name=""/>
        <dsp:cNvSpPr/>
      </dsp:nvSpPr>
      <dsp:spPr>
        <a:xfrm>
          <a:off x="438018" y="79725"/>
          <a:ext cx="1063398" cy="1063398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BC063B-BC95-43FB-9981-87ED1FE4A46F}">
      <dsp:nvSpPr>
        <dsp:cNvPr id="0" name=""/>
        <dsp:cNvSpPr/>
      </dsp:nvSpPr>
      <dsp:spPr>
        <a:xfrm>
          <a:off x="1995661" y="-23400"/>
          <a:ext cx="1935742" cy="2376264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Timber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Forest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Resource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1995661" y="927105"/>
        <a:ext cx="1935742" cy="950505"/>
      </dsp:txXfrm>
    </dsp:sp>
    <dsp:sp modelId="{995A5B8F-AB98-41AA-AB79-119C69C5F1C7}">
      <dsp:nvSpPr>
        <dsp:cNvPr id="0" name=""/>
        <dsp:cNvSpPr/>
      </dsp:nvSpPr>
      <dsp:spPr>
        <a:xfrm>
          <a:off x="2431833" y="79725"/>
          <a:ext cx="1063398" cy="1063398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B190ED-C744-4308-BDD3-48E4106EE2F5}">
      <dsp:nvSpPr>
        <dsp:cNvPr id="0" name=""/>
        <dsp:cNvSpPr/>
      </dsp:nvSpPr>
      <dsp:spPr>
        <a:xfrm>
          <a:off x="3989476" y="-23400"/>
          <a:ext cx="1935742" cy="237626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Water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3989476" y="927105"/>
        <a:ext cx="1935742" cy="950505"/>
      </dsp:txXfrm>
    </dsp:sp>
    <dsp:sp modelId="{E27310D4-4F91-4859-93B7-51140B4E30CB}">
      <dsp:nvSpPr>
        <dsp:cNvPr id="0" name=""/>
        <dsp:cNvSpPr/>
      </dsp:nvSpPr>
      <dsp:spPr>
        <a:xfrm>
          <a:off x="4425647" y="79725"/>
          <a:ext cx="1063398" cy="1063398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BB6EA3-B53C-401E-9F8E-A15B1472D93C}">
      <dsp:nvSpPr>
        <dsp:cNvPr id="0" name=""/>
        <dsp:cNvSpPr/>
      </dsp:nvSpPr>
      <dsp:spPr>
        <a:xfrm>
          <a:off x="5983290" y="-23400"/>
          <a:ext cx="1935742" cy="2376264"/>
        </a:xfrm>
        <a:prstGeom prst="roundRect">
          <a:avLst>
            <a:gd name="adj" fmla="val 10000"/>
          </a:avLst>
        </a:prstGeom>
        <a:solidFill>
          <a:schemeClr val="bg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Land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5983290" y="927105"/>
        <a:ext cx="1935742" cy="950505"/>
      </dsp:txXfrm>
    </dsp:sp>
    <dsp:sp modelId="{A32F777B-420A-4588-81CB-DB289BBF36E2}">
      <dsp:nvSpPr>
        <dsp:cNvPr id="0" name=""/>
        <dsp:cNvSpPr/>
      </dsp:nvSpPr>
      <dsp:spPr>
        <a:xfrm>
          <a:off x="6398643" y="95566"/>
          <a:ext cx="1063398" cy="1063398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80011-5C3E-4A75-9E18-294053D6A41E}">
      <dsp:nvSpPr>
        <dsp:cNvPr id="0" name=""/>
        <dsp:cNvSpPr/>
      </dsp:nvSpPr>
      <dsp:spPr>
        <a:xfrm>
          <a:off x="360048" y="1683192"/>
          <a:ext cx="7287209" cy="687668"/>
        </a:xfrm>
        <a:prstGeom prst="leftRightArrow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2B0564-185A-4332-83F2-5313C28FD4AC}">
      <dsp:nvSpPr>
        <dsp:cNvPr id="0" name=""/>
        <dsp:cNvSpPr/>
      </dsp:nvSpPr>
      <dsp:spPr>
        <a:xfrm>
          <a:off x="1701" y="-43372"/>
          <a:ext cx="1949062" cy="2376000"/>
        </a:xfrm>
        <a:prstGeom prst="roundRect">
          <a:avLst>
            <a:gd name="adj" fmla="val 10000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ndara" pitchFamily="34" charset="0"/>
            </a:rPr>
            <a:t>Air </a:t>
          </a:r>
          <a:r>
            <a:rPr lang="es-ES" sz="1600" kern="1200" dirty="0" err="1" smtClean="0">
              <a:latin typeface="Candara" pitchFamily="34" charset="0"/>
            </a:rPr>
            <a:t>Emissions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1701" y="907027"/>
        <a:ext cx="1949062" cy="950400"/>
      </dsp:txXfrm>
    </dsp:sp>
    <dsp:sp modelId="{85061234-7935-41AA-A9A3-242D56FE983D}">
      <dsp:nvSpPr>
        <dsp:cNvPr id="0" name=""/>
        <dsp:cNvSpPr/>
      </dsp:nvSpPr>
      <dsp:spPr>
        <a:xfrm>
          <a:off x="452346" y="42343"/>
          <a:ext cx="1047773" cy="1047773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B190ED-C744-4308-BDD3-48E4106EE2F5}">
      <dsp:nvSpPr>
        <dsp:cNvPr id="0" name=""/>
        <dsp:cNvSpPr/>
      </dsp:nvSpPr>
      <dsp:spPr>
        <a:xfrm>
          <a:off x="2009235" y="-43372"/>
          <a:ext cx="1949062" cy="237600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Water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2009235" y="907027"/>
        <a:ext cx="1949062" cy="950400"/>
      </dsp:txXfrm>
    </dsp:sp>
    <dsp:sp modelId="{E27310D4-4F91-4859-93B7-51140B4E30CB}">
      <dsp:nvSpPr>
        <dsp:cNvPr id="0" name=""/>
        <dsp:cNvSpPr/>
      </dsp:nvSpPr>
      <dsp:spPr>
        <a:xfrm>
          <a:off x="2459880" y="42343"/>
          <a:ext cx="1047773" cy="1047773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80011-5C3E-4A75-9E18-294053D6A41E}">
      <dsp:nvSpPr>
        <dsp:cNvPr id="0" name=""/>
        <dsp:cNvSpPr/>
      </dsp:nvSpPr>
      <dsp:spPr>
        <a:xfrm>
          <a:off x="226272" y="1651882"/>
          <a:ext cx="3643200" cy="767489"/>
        </a:xfrm>
        <a:prstGeom prst="leftRightArrow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2B0564-185A-4332-83F2-5313C28FD4AC}">
      <dsp:nvSpPr>
        <dsp:cNvPr id="0" name=""/>
        <dsp:cNvSpPr/>
      </dsp:nvSpPr>
      <dsp:spPr>
        <a:xfrm>
          <a:off x="0" y="0"/>
          <a:ext cx="1908000" cy="2376000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err="1" smtClean="0">
              <a:latin typeface="Candara" pitchFamily="34" charset="0"/>
            </a:rPr>
            <a:t>Environmental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Protection</a:t>
          </a:r>
          <a:r>
            <a:rPr lang="es-ES" sz="1600" kern="1200" dirty="0" smtClean="0">
              <a:latin typeface="Candara" pitchFamily="34" charset="0"/>
            </a:rPr>
            <a:t> Expenses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endParaRPr lang="es-ES" sz="1600" kern="1200" dirty="0">
            <a:latin typeface="Candara" pitchFamily="34" charset="0"/>
          </a:endParaRPr>
        </a:p>
      </dsp:txBody>
      <dsp:txXfrm>
        <a:off x="0" y="950400"/>
        <a:ext cx="1908000" cy="950400"/>
      </dsp:txXfrm>
    </dsp:sp>
    <dsp:sp modelId="{85061234-7935-41AA-A9A3-242D56FE983D}">
      <dsp:nvSpPr>
        <dsp:cNvPr id="0" name=""/>
        <dsp:cNvSpPr/>
      </dsp:nvSpPr>
      <dsp:spPr>
        <a:xfrm>
          <a:off x="480818" y="71438"/>
          <a:ext cx="946363" cy="946363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80011-5C3E-4A75-9E18-294053D6A41E}">
      <dsp:nvSpPr>
        <dsp:cNvPr id="0" name=""/>
        <dsp:cNvSpPr/>
      </dsp:nvSpPr>
      <dsp:spPr>
        <a:xfrm>
          <a:off x="72686" y="1763569"/>
          <a:ext cx="1755360" cy="593623"/>
        </a:xfrm>
        <a:prstGeom prst="leftRightArrow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52B0564-185A-4332-83F2-5313C28FD4AC}">
      <dsp:nvSpPr>
        <dsp:cNvPr id="0" name=""/>
        <dsp:cNvSpPr/>
      </dsp:nvSpPr>
      <dsp:spPr>
        <a:xfrm>
          <a:off x="0" y="0"/>
          <a:ext cx="1908000" cy="2376000"/>
        </a:xfrm>
        <a:prstGeom prst="roundRect">
          <a:avLst>
            <a:gd name="adj" fmla="val 10000"/>
          </a:avLst>
        </a:prstGeom>
        <a:solidFill>
          <a:srgbClr val="339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Candara" pitchFamily="34" charset="0"/>
            </a:rPr>
            <a:t>Experimental </a:t>
          </a:r>
          <a:r>
            <a:rPr lang="es-ES" sz="1600" kern="1200" dirty="0" err="1" smtClean="0">
              <a:latin typeface="Candara" pitchFamily="34" charset="0"/>
            </a:rPr>
            <a:t>Ecosystems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Account</a:t>
          </a:r>
          <a:r>
            <a:rPr lang="es-ES" sz="1600" kern="1200" dirty="0" smtClean="0">
              <a:latin typeface="Candara" pitchFamily="34" charset="0"/>
            </a:rPr>
            <a:t>: </a:t>
          </a:r>
          <a:r>
            <a:rPr lang="es-ES" sz="1600" kern="1200" dirty="0" err="1" smtClean="0">
              <a:latin typeface="Candara" pitchFamily="34" charset="0"/>
            </a:rPr>
            <a:t>Scoping</a:t>
          </a:r>
          <a:r>
            <a:rPr lang="es-ES" sz="1600" kern="1200" dirty="0" smtClean="0">
              <a:latin typeface="Candara" pitchFamily="34" charset="0"/>
            </a:rPr>
            <a:t> </a:t>
          </a:r>
          <a:r>
            <a:rPr lang="es-ES" sz="1600" kern="1200" dirty="0" err="1" smtClean="0">
              <a:latin typeface="Candara" pitchFamily="34" charset="0"/>
            </a:rPr>
            <a:t>phase</a:t>
          </a:r>
          <a:endParaRPr lang="es-ES" sz="1600" kern="1200" dirty="0">
            <a:latin typeface="Candara" pitchFamily="34" charset="0"/>
          </a:endParaRPr>
        </a:p>
      </dsp:txBody>
      <dsp:txXfrm>
        <a:off x="0" y="950400"/>
        <a:ext cx="1908000" cy="950400"/>
      </dsp:txXfrm>
    </dsp:sp>
    <dsp:sp modelId="{85061234-7935-41AA-A9A3-242D56FE983D}">
      <dsp:nvSpPr>
        <dsp:cNvPr id="0" name=""/>
        <dsp:cNvSpPr/>
      </dsp:nvSpPr>
      <dsp:spPr>
        <a:xfrm>
          <a:off x="478578" y="3987"/>
          <a:ext cx="984864" cy="984864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F80011-5C3E-4A75-9E18-294053D6A41E}">
      <dsp:nvSpPr>
        <dsp:cNvPr id="0" name=""/>
        <dsp:cNvSpPr/>
      </dsp:nvSpPr>
      <dsp:spPr>
        <a:xfrm>
          <a:off x="72686" y="1763569"/>
          <a:ext cx="1755360" cy="593623"/>
        </a:xfrm>
        <a:prstGeom prst="leftRightArrow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7#14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7#15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7#16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7#16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C926BA-1657-49D9-B52A-BCA3FF39D264}" type="datetimeFigureOut">
              <a:rPr lang="es-EC" smtClean="0"/>
              <a:pPr/>
              <a:t>21/10/2014</a:t>
            </a:fld>
            <a:endParaRPr lang="es-EC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C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13DD82-CE4E-4A7D-8C8E-37A4ECDCE54E}" type="slidenum">
              <a:rPr lang="es-EC" smtClean="0"/>
              <a:pPr/>
              <a:t>‹#›</a:t>
            </a:fld>
            <a:endParaRPr lang="es-EC"/>
          </a:p>
        </p:txBody>
      </p:sp>
    </p:spTree>
    <p:extLst>
      <p:ext uri="{BB962C8B-B14F-4D97-AF65-F5344CB8AC3E}">
        <p14:creationId xmlns="" xmlns:p14="http://schemas.microsoft.com/office/powerpoint/2010/main" val="1252131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1" algn="just"/>
            <a:r>
              <a:rPr lang="es-EC" dirty="0" smtClean="0"/>
              <a:t>Enmarcada en la visión política de cambio estructural del Estado </a:t>
            </a:r>
          </a:p>
          <a:p>
            <a:pPr lvl="1" algn="just"/>
            <a:r>
              <a:rPr lang="es-EC" dirty="0" smtClean="0"/>
              <a:t>Permiten la gestión integrada de las dos Direcciones de la SPN</a:t>
            </a:r>
          </a:p>
          <a:p>
            <a:pPr lvl="1" algn="just"/>
            <a:r>
              <a:rPr lang="es-EC" dirty="0" smtClean="0"/>
              <a:t>Superan la lógica de “gestión de proyectos” a “gestión de política pública”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3DD82-CE4E-4A7D-8C8E-37A4ECDCE54E}" type="slidenum">
              <a:rPr lang="es-EC" smtClean="0"/>
              <a:pPr/>
              <a:t>2</a:t>
            </a:fld>
            <a:endParaRPr lang="es-EC"/>
          </a:p>
        </p:txBody>
      </p:sp>
    </p:spTree>
    <p:extLst>
      <p:ext uri="{BB962C8B-B14F-4D97-AF65-F5344CB8AC3E}">
        <p14:creationId xmlns="" xmlns:p14="http://schemas.microsoft.com/office/powerpoint/2010/main" val="106331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C" dirty="0" err="1" smtClean="0"/>
              <a:t>These</a:t>
            </a:r>
            <a:r>
              <a:rPr lang="es-EC" baseline="0" dirty="0" smtClean="0"/>
              <a:t> are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</a:t>
            </a:r>
            <a:r>
              <a:rPr lang="es-EC" baseline="0" dirty="0" err="1" smtClean="0"/>
              <a:t>basis</a:t>
            </a:r>
            <a:r>
              <a:rPr lang="es-EC" baseline="0" dirty="0" smtClean="0"/>
              <a:t> of </a:t>
            </a:r>
            <a:r>
              <a:rPr lang="es-EC" baseline="0" dirty="0" err="1" smtClean="0"/>
              <a:t>Ecuador´s</a:t>
            </a:r>
            <a:r>
              <a:rPr lang="es-EC" baseline="0" dirty="0" smtClean="0"/>
              <a:t> </a:t>
            </a:r>
            <a:r>
              <a:rPr lang="es-EC" baseline="0" dirty="0" err="1" smtClean="0"/>
              <a:t>public</a:t>
            </a:r>
            <a:r>
              <a:rPr lang="es-EC" baseline="0" dirty="0" smtClean="0"/>
              <a:t> </a:t>
            </a:r>
            <a:r>
              <a:rPr lang="es-EC" baseline="0" dirty="0" err="1" smtClean="0"/>
              <a:t>policy</a:t>
            </a:r>
            <a:r>
              <a:rPr lang="es-EC" baseline="0" dirty="0" smtClean="0"/>
              <a:t>, </a:t>
            </a:r>
            <a:r>
              <a:rPr lang="es-EC" baseline="0" dirty="0" err="1" smtClean="0"/>
              <a:t>to</a:t>
            </a:r>
            <a:r>
              <a:rPr lang="es-EC" baseline="0" dirty="0" smtClean="0"/>
              <a:t> a </a:t>
            </a:r>
            <a:r>
              <a:rPr lang="es-EC" baseline="0" dirty="0" err="1" smtClean="0"/>
              <a:t>national</a:t>
            </a:r>
            <a:r>
              <a:rPr lang="es-EC" baseline="0" dirty="0" smtClean="0"/>
              <a:t> </a:t>
            </a:r>
            <a:r>
              <a:rPr lang="es-EC" baseline="0" dirty="0" err="1" smtClean="0"/>
              <a:t>level</a:t>
            </a:r>
            <a:endParaRPr lang="es-EC" baseline="0" dirty="0" smtClean="0"/>
          </a:p>
          <a:p>
            <a:r>
              <a:rPr lang="es-EC" dirty="0" err="1" smtClean="0"/>
              <a:t>These</a:t>
            </a:r>
            <a:r>
              <a:rPr lang="es-EC" dirty="0" smtClean="0"/>
              <a:t> </a:t>
            </a:r>
            <a:r>
              <a:rPr lang="es-EC" dirty="0" err="1" smtClean="0"/>
              <a:t>second</a:t>
            </a:r>
            <a:r>
              <a:rPr lang="es-EC" baseline="0" dirty="0" smtClean="0"/>
              <a:t> </a:t>
            </a:r>
            <a:r>
              <a:rPr lang="es-EC" baseline="0" dirty="0" err="1" smtClean="0"/>
              <a:t>stage</a:t>
            </a:r>
            <a:r>
              <a:rPr lang="es-EC" baseline="0" dirty="0" smtClean="0"/>
              <a:t> are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</a:t>
            </a:r>
            <a:r>
              <a:rPr lang="es-EC" baseline="0" dirty="0" err="1" smtClean="0"/>
              <a:t>instruments</a:t>
            </a:r>
            <a:r>
              <a:rPr lang="es-EC" baseline="0" dirty="0" smtClean="0"/>
              <a:t>, </a:t>
            </a:r>
            <a:r>
              <a:rPr lang="es-EC" baseline="0" dirty="0" err="1" smtClean="0"/>
              <a:t>through</a:t>
            </a:r>
            <a:r>
              <a:rPr lang="es-EC" baseline="0" dirty="0" smtClean="0"/>
              <a:t> </a:t>
            </a:r>
            <a:r>
              <a:rPr lang="es-EC" baseline="0" dirty="0" err="1" smtClean="0"/>
              <a:t>which</a:t>
            </a:r>
            <a:r>
              <a:rPr lang="es-EC" baseline="0" dirty="0" smtClean="0"/>
              <a:t> Ecuador </a:t>
            </a:r>
            <a:r>
              <a:rPr lang="es-EC" baseline="0" dirty="0" err="1" smtClean="0"/>
              <a:t>implements</a:t>
            </a:r>
            <a:r>
              <a:rPr lang="es-EC" baseline="0" dirty="0" smtClean="0"/>
              <a:t> </a:t>
            </a:r>
            <a:r>
              <a:rPr lang="es-EC" baseline="0" dirty="0" err="1" smtClean="0"/>
              <a:t>this</a:t>
            </a:r>
            <a:r>
              <a:rPr lang="es-EC" baseline="0" dirty="0" smtClean="0"/>
              <a:t> </a:t>
            </a:r>
            <a:r>
              <a:rPr lang="es-EC" baseline="0" dirty="0" err="1" smtClean="0"/>
              <a:t>foundations</a:t>
            </a:r>
            <a:r>
              <a:rPr lang="es-EC" baseline="0" dirty="0" smtClean="0"/>
              <a:t>.</a:t>
            </a:r>
          </a:p>
          <a:p>
            <a:endParaRPr lang="es-EC" baseline="0" dirty="0" smtClean="0"/>
          </a:p>
          <a:p>
            <a:endParaRPr lang="es-EC" baseline="0" dirty="0" smtClean="0"/>
          </a:p>
          <a:p>
            <a:endParaRPr lang="es-EC" baseline="0" dirty="0" smtClean="0"/>
          </a:p>
          <a:p>
            <a:r>
              <a:rPr lang="es-EC" dirty="0" smtClean="0"/>
              <a:t>Fundamentos</a:t>
            </a:r>
            <a:r>
              <a:rPr lang="es-EC" baseline="0" dirty="0" smtClean="0"/>
              <a:t> de la política nacional, a primer nivel</a:t>
            </a:r>
          </a:p>
          <a:p>
            <a:r>
              <a:rPr lang="es-EC" baseline="0" dirty="0" smtClean="0"/>
              <a:t>Instrumentos normativos e institucionales a través de los cuales se implementan estos fundamentos.</a:t>
            </a:r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3DD82-CE4E-4A7D-8C8E-37A4ECDCE54E}" type="slidenum">
              <a:rPr lang="es-EC" smtClean="0"/>
              <a:pPr/>
              <a:t>4</a:t>
            </a:fld>
            <a:endParaRPr lang="es-EC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C" dirty="0" err="1" smtClean="0"/>
              <a:t>Our</a:t>
            </a:r>
            <a:r>
              <a:rPr lang="es-EC" dirty="0" smtClean="0"/>
              <a:t> PNBV </a:t>
            </a:r>
            <a:r>
              <a:rPr lang="es-EC" dirty="0" err="1" smtClean="0"/>
              <a:t>was</a:t>
            </a:r>
            <a:r>
              <a:rPr lang="es-EC" dirty="0" smtClean="0"/>
              <a:t> </a:t>
            </a:r>
            <a:r>
              <a:rPr lang="es-EC" dirty="0" err="1" smtClean="0"/>
              <a:t>built</a:t>
            </a:r>
            <a:r>
              <a:rPr lang="es-EC" dirty="0" smtClean="0"/>
              <a:t> </a:t>
            </a:r>
            <a:r>
              <a:rPr lang="es-EC" dirty="0" err="1" smtClean="0"/>
              <a:t>containing</a:t>
            </a:r>
            <a:r>
              <a:rPr lang="es-EC" baseline="0" dirty="0" smtClean="0"/>
              <a:t>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</a:t>
            </a:r>
            <a:r>
              <a:rPr lang="es-EC" baseline="0" dirty="0" err="1" smtClean="0"/>
              <a:t>concepts</a:t>
            </a:r>
            <a:r>
              <a:rPr lang="es-EC" baseline="0" dirty="0" smtClean="0"/>
              <a:t> </a:t>
            </a:r>
            <a:r>
              <a:rPr lang="es-EC" baseline="0" dirty="0" err="1" smtClean="0"/>
              <a:t>developed</a:t>
            </a:r>
            <a:r>
              <a:rPr lang="es-EC" baseline="0" dirty="0" smtClean="0"/>
              <a:t> in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Aichi Targets </a:t>
            </a:r>
          </a:p>
          <a:p>
            <a:r>
              <a:rPr lang="es-EC" baseline="0" dirty="0" err="1" smtClean="0"/>
              <a:t>Our</a:t>
            </a:r>
            <a:r>
              <a:rPr lang="es-EC" baseline="0" dirty="0" smtClean="0"/>
              <a:t> </a:t>
            </a:r>
            <a:r>
              <a:rPr lang="es-EC" baseline="0" dirty="0" err="1" smtClean="0"/>
              <a:t>National</a:t>
            </a:r>
            <a:r>
              <a:rPr lang="es-EC" baseline="0" dirty="0" smtClean="0"/>
              <a:t> </a:t>
            </a:r>
            <a:r>
              <a:rPr lang="es-EC" baseline="0" dirty="0" err="1" smtClean="0"/>
              <a:t>Structure</a:t>
            </a:r>
            <a:r>
              <a:rPr lang="es-EC" baseline="0" dirty="0" smtClean="0"/>
              <a:t> has </a:t>
            </a:r>
            <a:r>
              <a:rPr lang="es-EC" baseline="0" dirty="0" err="1" smtClean="0"/>
              <a:t>vision</a:t>
            </a:r>
            <a:r>
              <a:rPr lang="es-EC" baseline="0" dirty="0" smtClean="0"/>
              <a:t> </a:t>
            </a:r>
            <a:r>
              <a:rPr lang="es-EC" baseline="0" dirty="0" err="1" smtClean="0"/>
              <a:t>to</a:t>
            </a:r>
            <a:r>
              <a:rPr lang="es-EC" baseline="0" dirty="0" smtClean="0"/>
              <a:t> a </a:t>
            </a:r>
            <a:r>
              <a:rPr lang="es-EC" baseline="0" dirty="0" err="1" smtClean="0"/>
              <a:t>long</a:t>
            </a:r>
            <a:r>
              <a:rPr lang="es-EC" baseline="0" dirty="0" smtClean="0"/>
              <a:t> </a:t>
            </a:r>
            <a:r>
              <a:rPr lang="es-EC" baseline="0" dirty="0" err="1" smtClean="0"/>
              <a:t>term</a:t>
            </a:r>
            <a:r>
              <a:rPr lang="es-EC" baseline="0" dirty="0" smtClean="0"/>
              <a:t> </a:t>
            </a:r>
            <a:r>
              <a:rPr lang="es-EC" baseline="0" dirty="0" err="1" smtClean="0"/>
              <a:t>period</a:t>
            </a:r>
            <a:endParaRPr lang="es-EC" baseline="0" dirty="0" smtClean="0"/>
          </a:p>
          <a:p>
            <a:endParaRPr lang="es-EC" baseline="0" dirty="0" smtClean="0"/>
          </a:p>
          <a:p>
            <a:endParaRPr lang="es-EC" baseline="0" dirty="0" smtClean="0"/>
          </a:p>
          <a:p>
            <a:r>
              <a:rPr lang="es-EC" baseline="0" dirty="0" smtClean="0"/>
              <a:t> </a:t>
            </a:r>
            <a:r>
              <a:rPr lang="es-EC" dirty="0" smtClean="0"/>
              <a:t>Integra los conceptos que están contemplados</a:t>
            </a:r>
            <a:r>
              <a:rPr lang="es-EC" baseline="0" dirty="0" smtClean="0"/>
              <a:t> en las Metas</a:t>
            </a:r>
            <a:r>
              <a:rPr lang="es-EC" dirty="0" smtClean="0"/>
              <a:t> Aichi </a:t>
            </a:r>
          </a:p>
          <a:p>
            <a:r>
              <a:rPr lang="es-EC" dirty="0" smtClean="0"/>
              <a:t>Visión de desarrollo a largo plazo al 2030</a:t>
            </a:r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3DD82-CE4E-4A7D-8C8E-37A4ECDCE54E}" type="slidenum">
              <a:rPr lang="es-EC" smtClean="0"/>
              <a:pPr/>
              <a:t>7</a:t>
            </a:fld>
            <a:endParaRPr lang="es-EC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s-EC" dirty="0" err="1" smtClean="0"/>
              <a:t>This</a:t>
            </a:r>
            <a:r>
              <a:rPr lang="es-EC" dirty="0" smtClean="0"/>
              <a:t> </a:t>
            </a:r>
            <a:r>
              <a:rPr lang="es-EC" dirty="0" err="1" smtClean="0"/>
              <a:t>is</a:t>
            </a:r>
            <a:r>
              <a:rPr lang="es-EC" dirty="0" smtClean="0"/>
              <a:t> </a:t>
            </a:r>
            <a:r>
              <a:rPr lang="es-EC" dirty="0" err="1" smtClean="0"/>
              <a:t>the</a:t>
            </a:r>
            <a:r>
              <a:rPr lang="es-EC" dirty="0" smtClean="0"/>
              <a:t> </a:t>
            </a:r>
            <a:r>
              <a:rPr lang="es-EC" dirty="0" err="1" smtClean="0"/>
              <a:t>Strategy</a:t>
            </a:r>
            <a:r>
              <a:rPr lang="es-EC" dirty="0" smtClean="0"/>
              <a:t> in </a:t>
            </a:r>
            <a:r>
              <a:rPr lang="es-EC" dirty="0" err="1" smtClean="0"/>
              <a:t>which</a:t>
            </a:r>
            <a:r>
              <a:rPr lang="es-EC" dirty="0" smtClean="0"/>
              <a:t> </a:t>
            </a:r>
            <a:r>
              <a:rPr lang="es-EC" dirty="0" err="1" smtClean="0"/>
              <a:t>is</a:t>
            </a:r>
            <a:r>
              <a:rPr lang="es-EC" dirty="0" smtClean="0"/>
              <a:t> </a:t>
            </a:r>
            <a:r>
              <a:rPr lang="es-EC" dirty="0" err="1" smtClean="0"/>
              <a:t>based</a:t>
            </a:r>
            <a:r>
              <a:rPr lang="es-EC" dirty="0" smtClean="0"/>
              <a:t> </a:t>
            </a:r>
            <a:r>
              <a:rPr lang="es-EC" dirty="0" err="1" smtClean="0"/>
              <a:t>our</a:t>
            </a:r>
            <a:r>
              <a:rPr lang="es-EC" baseline="0" dirty="0" smtClean="0"/>
              <a:t> new </a:t>
            </a:r>
            <a:r>
              <a:rPr lang="es-EC" baseline="0" dirty="0" err="1" smtClean="0"/>
              <a:t>development</a:t>
            </a:r>
            <a:r>
              <a:rPr lang="es-EC" baseline="0" dirty="0" smtClean="0"/>
              <a:t> </a:t>
            </a:r>
            <a:r>
              <a:rPr lang="es-EC" baseline="0" dirty="0" err="1" smtClean="0"/>
              <a:t>model</a:t>
            </a:r>
            <a:r>
              <a:rPr lang="es-EC" baseline="0" dirty="0" smtClean="0"/>
              <a:t> in Ecuador (</a:t>
            </a:r>
            <a:r>
              <a:rPr lang="es-EC" baseline="0" dirty="0" err="1" smtClean="0"/>
              <a:t>which</a:t>
            </a:r>
            <a:r>
              <a:rPr lang="es-EC" baseline="0" dirty="0" smtClean="0"/>
              <a:t> </a:t>
            </a:r>
            <a:r>
              <a:rPr lang="es-EC" baseline="0" dirty="0" err="1" smtClean="0"/>
              <a:t>should</a:t>
            </a:r>
            <a:r>
              <a:rPr lang="es-EC" baseline="0" dirty="0" smtClean="0"/>
              <a:t> </a:t>
            </a:r>
            <a:r>
              <a:rPr lang="es-EC" baseline="0" dirty="0" err="1" smtClean="0"/>
              <a:t>be</a:t>
            </a:r>
            <a:r>
              <a:rPr lang="es-EC" baseline="0" dirty="0" smtClean="0"/>
              <a:t> inclusive, </a:t>
            </a:r>
            <a:r>
              <a:rPr lang="es-EC" baseline="0" dirty="0" err="1" smtClean="0"/>
              <a:t>equitative</a:t>
            </a:r>
            <a:r>
              <a:rPr lang="es-EC" baseline="0" dirty="0" smtClean="0"/>
              <a:t>, </a:t>
            </a:r>
            <a:r>
              <a:rPr lang="es-EC" baseline="0" dirty="0" err="1" smtClean="0"/>
              <a:t>thinking</a:t>
            </a:r>
            <a:r>
              <a:rPr lang="es-EC" baseline="0" dirty="0" smtClean="0"/>
              <a:t> </a:t>
            </a:r>
            <a:r>
              <a:rPr lang="es-EC" baseline="0" dirty="0" err="1" smtClean="0"/>
              <a:t>on</a:t>
            </a:r>
            <a:r>
              <a:rPr lang="es-EC" baseline="0" dirty="0" smtClean="0"/>
              <a:t>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</a:t>
            </a:r>
            <a:r>
              <a:rPr lang="es-EC" baseline="0" dirty="0" err="1" smtClean="0"/>
              <a:t>distribution</a:t>
            </a:r>
            <a:r>
              <a:rPr lang="es-EC" baseline="0" dirty="0" smtClean="0"/>
              <a:t> of </a:t>
            </a:r>
            <a:r>
              <a:rPr lang="es-EC" baseline="0" dirty="0" err="1" smtClean="0"/>
              <a:t>wealth</a:t>
            </a:r>
            <a:endParaRPr lang="es-EC" baseline="0" dirty="0" smtClean="0"/>
          </a:p>
          <a:p>
            <a:pPr>
              <a:buFontTx/>
              <a:buChar char="-"/>
            </a:pPr>
            <a:r>
              <a:rPr lang="es-EC" baseline="0" dirty="0" smtClean="0"/>
              <a:t> </a:t>
            </a:r>
            <a:r>
              <a:rPr lang="es-EC" baseline="0" dirty="0" err="1" smtClean="0"/>
              <a:t>These</a:t>
            </a:r>
            <a:r>
              <a:rPr lang="es-EC" baseline="0" dirty="0" smtClean="0"/>
              <a:t> are </a:t>
            </a:r>
            <a:r>
              <a:rPr lang="es-EC" baseline="0" dirty="0" err="1" smtClean="0"/>
              <a:t>the</a:t>
            </a:r>
            <a:r>
              <a:rPr lang="es-EC" baseline="0" dirty="0" smtClean="0"/>
              <a:t> </a:t>
            </a:r>
            <a:r>
              <a:rPr lang="es-EC" baseline="0" dirty="0" err="1" smtClean="0"/>
              <a:t>main</a:t>
            </a:r>
            <a:r>
              <a:rPr lang="es-EC" baseline="0" dirty="0" smtClean="0"/>
              <a:t> axis, </a:t>
            </a:r>
            <a:r>
              <a:rPr lang="es-EC" baseline="0" dirty="0" err="1" smtClean="0"/>
              <a:t>with</a:t>
            </a:r>
            <a:r>
              <a:rPr lang="es-EC" baseline="0" dirty="0" smtClean="0"/>
              <a:t> </a:t>
            </a:r>
            <a:r>
              <a:rPr lang="es-EC" baseline="0" dirty="0" err="1" smtClean="0"/>
              <a:t>which</a:t>
            </a:r>
            <a:r>
              <a:rPr lang="es-EC" baseline="0" dirty="0" smtClean="0"/>
              <a:t> Ecuador </a:t>
            </a:r>
            <a:r>
              <a:rPr lang="es-EC" baseline="0" dirty="0" err="1" smtClean="0"/>
              <a:t>is</a:t>
            </a:r>
            <a:r>
              <a:rPr lang="es-EC" baseline="0" dirty="0" smtClean="0"/>
              <a:t> </a:t>
            </a:r>
            <a:r>
              <a:rPr lang="es-EC" baseline="0" dirty="0" err="1" smtClean="0"/>
              <a:t>developing</a:t>
            </a:r>
            <a:r>
              <a:rPr lang="es-EC" baseline="0" dirty="0" smtClean="0"/>
              <a:t> </a:t>
            </a:r>
            <a:r>
              <a:rPr lang="es-EC" baseline="0" dirty="0" err="1" smtClean="0"/>
              <a:t>its</a:t>
            </a:r>
            <a:r>
              <a:rPr lang="es-EC" baseline="0" dirty="0" smtClean="0"/>
              <a:t> NBSAP.</a:t>
            </a:r>
          </a:p>
          <a:p>
            <a:pPr>
              <a:buFontTx/>
              <a:buChar char="-"/>
            </a:pPr>
            <a:endParaRPr lang="es-EC" baseline="0" dirty="0" smtClean="0"/>
          </a:p>
          <a:p>
            <a:pPr>
              <a:buFontTx/>
              <a:buChar char="-"/>
            </a:pPr>
            <a:endParaRPr lang="es-EC" baseline="0" dirty="0" smtClean="0"/>
          </a:p>
          <a:p>
            <a:pPr>
              <a:buFontTx/>
              <a:buChar char="-"/>
            </a:pPr>
            <a:r>
              <a:rPr lang="es-EC" dirty="0" smtClean="0"/>
              <a:t>Estrategia en la que se basa el nuevo modelo de desarrollo del Ecuador (inclusive, </a:t>
            </a:r>
            <a:r>
              <a:rPr lang="es-EC" dirty="0" err="1" smtClean="0"/>
              <a:t>equitative</a:t>
            </a:r>
            <a:endParaRPr lang="es-EC" dirty="0" smtClean="0"/>
          </a:p>
          <a:p>
            <a:r>
              <a:rPr lang="es-EC" dirty="0" smtClean="0"/>
              <a:t>-</a:t>
            </a:r>
            <a:r>
              <a:rPr lang="es-EC" baseline="0" dirty="0" smtClean="0"/>
              <a:t> </a:t>
            </a:r>
            <a:r>
              <a:rPr lang="es-EC" dirty="0" smtClean="0"/>
              <a:t>Ejes transversales que son el sustento de la Estrategia Nacional</a:t>
            </a:r>
            <a:r>
              <a:rPr lang="es-EC" baseline="0" dirty="0" smtClean="0"/>
              <a:t> de Biodiversidad </a:t>
            </a:r>
            <a:r>
              <a:rPr lang="es-EC" baseline="0" dirty="0" err="1" smtClean="0"/>
              <a:t>NBSAPs</a:t>
            </a:r>
            <a:endParaRPr lang="es-EC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3DD82-CE4E-4A7D-8C8E-37A4ECDCE54E}" type="slidenum">
              <a:rPr lang="es-EC" smtClean="0"/>
              <a:pPr/>
              <a:t>8</a:t>
            </a:fld>
            <a:endParaRPr lang="es-EC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C" dirty="0" smtClean="0"/>
              <a:t>En proceso de construcción de atar</a:t>
            </a:r>
            <a:r>
              <a:rPr lang="es-EC" baseline="0" dirty="0" smtClean="0"/>
              <a:t> la propuesta de inclusión de la biodiversidad en la matriz productiva, que fue desarrollada en el marco de la NBSAP</a:t>
            </a:r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3DD82-CE4E-4A7D-8C8E-37A4ECDCE54E}" type="slidenum">
              <a:rPr lang="es-EC" smtClean="0"/>
              <a:pPr/>
              <a:t>9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xmlns="" val="2250028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El SCAN ha logrado desarrollar las siguientes cuentas de activos ambientales:</a:t>
            </a:r>
          </a:p>
          <a:p>
            <a:pPr lvl="0"/>
            <a:r>
              <a:rPr lang="es-ES" dirty="0" smtClean="0"/>
              <a:t>- </a:t>
            </a:r>
            <a:r>
              <a:rPr lang="es-ES" sz="1200" dirty="0" smtClean="0">
                <a:latin typeface="Candara" pitchFamily="34" charset="0"/>
              </a:rPr>
              <a:t>Cuenta de Petróleo y Gas Natural</a:t>
            </a:r>
          </a:p>
          <a:p>
            <a:pPr lvl="0"/>
            <a:r>
              <a:rPr lang="es-ES" sz="1200" dirty="0" smtClean="0">
                <a:latin typeface="Candara" pitchFamily="34" charset="0"/>
              </a:rPr>
              <a:t>- Cuenta de Recurso Forestal Maderable</a:t>
            </a:r>
          </a:p>
          <a:p>
            <a:pPr lvl="0"/>
            <a:r>
              <a:rPr lang="es-ES" sz="1200" dirty="0" smtClean="0">
                <a:latin typeface="Candara" pitchFamily="34" charset="0"/>
              </a:rPr>
              <a:t>- Cuenta de Agua</a:t>
            </a:r>
          </a:p>
          <a:p>
            <a:pPr lvl="0"/>
            <a:r>
              <a:rPr lang="es-ES" sz="1200" dirty="0" smtClean="0">
                <a:latin typeface="Candara" pitchFamily="34" charset="0"/>
              </a:rPr>
              <a:t>- Cuenta de Tierra</a:t>
            </a:r>
          </a:p>
          <a:p>
            <a:endParaRPr lang="es-ES" dirty="0" smtClean="0"/>
          </a:p>
          <a:p>
            <a:r>
              <a:rPr lang="es-ES" dirty="0" smtClean="0"/>
              <a:t>En cuanto a los flujos ambientales, las cuentas desarrolladas son:</a:t>
            </a:r>
          </a:p>
          <a:p>
            <a:pPr lvl="0"/>
            <a:r>
              <a:rPr lang="es-ES" sz="1200" dirty="0" smtClean="0">
                <a:latin typeface="Candara" pitchFamily="34" charset="0"/>
              </a:rPr>
              <a:t>- Cuenta de Emisiones al Aire</a:t>
            </a:r>
          </a:p>
          <a:p>
            <a:pPr lvl="0"/>
            <a:r>
              <a:rPr lang="es-ES" sz="1200" dirty="0" smtClean="0">
                <a:latin typeface="Candara" pitchFamily="34" charset="0"/>
              </a:rPr>
              <a:t>- Cuenta de Agua</a:t>
            </a:r>
          </a:p>
          <a:p>
            <a:endParaRPr lang="es-ES" dirty="0" smtClean="0"/>
          </a:p>
          <a:p>
            <a:r>
              <a:rPr lang="es-ES" dirty="0" smtClean="0"/>
              <a:t>Finalmente,</a:t>
            </a:r>
            <a:r>
              <a:rPr lang="es-ES" baseline="0" dirty="0" smtClean="0"/>
              <a:t> están las cuentas de Gastos de Protección Ambiental: protección, uso sostenible, restauración, investigación , </a:t>
            </a:r>
          </a:p>
          <a:p>
            <a:r>
              <a:rPr lang="es-ES" baseline="0" dirty="0" smtClean="0"/>
              <a:t> y la Exploración inicial de la Cuenta Experimental de Ecosistemas.</a:t>
            </a:r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2C7E52-C999-457C-986B-46CA7C9DDED7}" type="slidenum">
              <a:rPr lang="es-ES" smtClean="0"/>
              <a:pPr>
                <a:defRPr/>
              </a:pPr>
              <a:t>12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1751560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 txBox="1">
            <a:spLocks noGrp="1"/>
          </p:cNvSpPr>
          <p:nvPr>
            <p:ph type="ctrTitle"/>
          </p:nvPr>
        </p:nvSpPr>
        <p:spPr>
          <a:xfrm>
            <a:off x="914400" y="2130423"/>
            <a:ext cx="10363200" cy="1470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 txBox="1"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3"/>
          </a:xfrm>
        </p:spPr>
        <p:txBody>
          <a:bodyPr anchorCtr="1"/>
          <a:lstStyle>
            <a:lvl1pPr marL="0" indent="0" algn="ctr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 txBox="1"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6054E1-4BC3-4D5C-9FCC-326F73C8BD27}" type="datetimeFigureOut">
              <a:rPr lang="es-EC" smtClean="0"/>
              <a:pPr/>
              <a:t>21/10/2014</a:t>
            </a:fld>
            <a:endParaRPr lang="es-EC"/>
          </a:p>
        </p:txBody>
      </p:sp>
      <p:sp>
        <p:nvSpPr>
          <p:cNvPr id="5" name="4 Marcador de pie de página"/>
          <p:cNvSpPr txBox="1"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EC"/>
          </a:p>
        </p:txBody>
      </p:sp>
      <p:sp>
        <p:nvSpPr>
          <p:cNvPr id="6" name="5 Marcador de número de diapositiva"/>
          <p:cNvSpPr txBox="1"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7B09D2-BE18-4D30-A1CD-79DE7556AE44}" type="slidenum">
              <a:rPr lang="es-EC" smtClean="0"/>
              <a:pPr/>
              <a:t>‹#›</a:t>
            </a:fld>
            <a:endParaRPr lang="es-EC"/>
          </a:p>
        </p:txBody>
      </p:sp>
      <p:pic>
        <p:nvPicPr>
          <p:cNvPr id="7" name="Imagen 6" descr="DERECH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9543" y="-130757"/>
            <a:ext cx="1996279" cy="2224424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093297"/>
            <a:ext cx="681644" cy="764771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63" y="6195772"/>
            <a:ext cx="1106218" cy="39600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 txBox="1"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6054E1-4BC3-4D5C-9FCC-326F73C8BD27}" type="datetimeFigureOut">
              <a:rPr lang="es-EC" smtClean="0"/>
              <a:pPr/>
              <a:t>21/10/2014</a:t>
            </a:fld>
            <a:endParaRPr lang="es-EC"/>
          </a:p>
        </p:txBody>
      </p:sp>
      <p:sp>
        <p:nvSpPr>
          <p:cNvPr id="5" name="4 Marcador de pie de página"/>
          <p:cNvSpPr txBox="1"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s-EC"/>
          </a:p>
        </p:txBody>
      </p:sp>
      <p:sp>
        <p:nvSpPr>
          <p:cNvPr id="6" name="5 Marcador de número de diapositiva"/>
          <p:cNvSpPr txBox="1"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7B09D2-BE18-4D30-A1CD-79DE7556AE44}" type="slidenum">
              <a:rPr lang="es-EC" smtClean="0"/>
              <a:pPr/>
              <a:t>‹#›</a:t>
            </a:fld>
            <a:endParaRPr lang="es-EC"/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pic>
        <p:nvPicPr>
          <p:cNvPr id="8" name="Imagen 7" descr="DERECH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9543" y="-130757"/>
            <a:ext cx="1996279" cy="2224424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093297"/>
            <a:ext cx="681644" cy="764771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63" y="6195772"/>
            <a:ext cx="1106218" cy="39600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DERECHA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9543" y="-130757"/>
            <a:ext cx="1996279" cy="2224424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093297"/>
            <a:ext cx="681644" cy="76477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63" y="6195772"/>
            <a:ext cx="1106218" cy="396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806281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609600" y="274680"/>
            <a:ext cx="10972320" cy="1143000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endParaRPr/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10972320" cy="4525560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63" y="6195772"/>
            <a:ext cx="1106218" cy="396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91510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 txBox="1"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1027" name="2 Marcador de texto"/>
          <p:cNvSpPr txBox="1"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4" name="3 Marcador de fecha"/>
          <p:cNvSpPr txBox="1"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/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s-E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cs typeface="+mn-cs"/>
              </a:defRPr>
            </a:lvl1pPr>
          </a:lstStyle>
          <a:p>
            <a:fld id="{5B6054E1-4BC3-4D5C-9FCC-326F73C8BD27}" type="datetimeFigureOut">
              <a:rPr lang="es-EC" smtClean="0"/>
              <a:pPr/>
              <a:t>21/10/2014</a:t>
            </a:fld>
            <a:endParaRPr lang="es-EC"/>
          </a:p>
        </p:txBody>
      </p:sp>
      <p:sp>
        <p:nvSpPr>
          <p:cNvPr id="5" name="4 Marcador de pie de página"/>
          <p:cNvSpPr txBox="1"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/>
          <a:lstStyle>
            <a:lvl1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s-E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cs typeface="+mn-cs"/>
              </a:defRPr>
            </a:lvl1pPr>
          </a:lstStyle>
          <a:p>
            <a:endParaRPr lang="es-EC"/>
          </a:p>
        </p:txBody>
      </p:sp>
      <p:sp>
        <p:nvSpPr>
          <p:cNvPr id="6" name="5 Marcador de número de diapositiva"/>
          <p:cNvSpPr txBox="1"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/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s-ES" sz="1200" b="0" i="0" u="none" strike="noStrike" kern="1200" cap="none" spc="0" baseline="0">
                <a:solidFill>
                  <a:srgbClr val="898989"/>
                </a:solidFill>
                <a:uFillTx/>
                <a:latin typeface="Calibri"/>
                <a:cs typeface="+mn-cs"/>
              </a:defRPr>
            </a:lvl1pPr>
          </a:lstStyle>
          <a:p>
            <a:fld id="{4A7B09D2-BE18-4D30-A1CD-79DE7556AE44}" type="slidenum">
              <a:rPr lang="es-EC" smtClean="0"/>
              <a:pPr/>
              <a:t>‹#›</a:t>
            </a:fld>
            <a:endParaRPr lang="es-EC"/>
          </a:p>
        </p:txBody>
      </p:sp>
      <p:pic>
        <p:nvPicPr>
          <p:cNvPr id="7" name="Imagen 6" descr="DERECHA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9543" y="-130757"/>
            <a:ext cx="1996279" cy="2224424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093297"/>
            <a:ext cx="681644" cy="76477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lang="es-ES" sz="4400" kern="1200">
          <a:solidFill>
            <a:srgbClr val="000000"/>
          </a:solidFill>
          <a:latin typeface="Calibri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0000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ts val="800"/>
        </a:spcBef>
        <a:spcAft>
          <a:spcPct val="0"/>
        </a:spcAft>
        <a:buSzPct val="100000"/>
        <a:buFont typeface="Arial" charset="0"/>
        <a:buChar char="•"/>
        <a:defRPr lang="es-ES" sz="3200" kern="1200">
          <a:solidFill>
            <a:srgbClr val="000000"/>
          </a:solidFill>
          <a:latin typeface="Calibri"/>
        </a:defRPr>
      </a:lvl1pPr>
      <a:lvl2pPr marL="742950" lvl="1" indent="-285750" algn="l" rtl="0" eaLnBrk="1" fontAlgn="base" hangingPunct="1">
        <a:spcBef>
          <a:spcPts val="700"/>
        </a:spcBef>
        <a:spcAft>
          <a:spcPct val="0"/>
        </a:spcAft>
        <a:buSzPct val="100000"/>
        <a:buFont typeface="Arial" charset="0"/>
        <a:buChar char="–"/>
        <a:defRPr lang="es-ES" sz="2800" kern="1200">
          <a:solidFill>
            <a:srgbClr val="000000"/>
          </a:solidFill>
          <a:latin typeface="Calibri"/>
        </a:defRPr>
      </a:lvl2pPr>
      <a:lvl3pPr marL="1143000" lvl="2" indent="-228600" algn="l" rtl="0" eaLnBrk="1" fontAlgn="base" hangingPunct="1">
        <a:spcBef>
          <a:spcPts val="600"/>
        </a:spcBef>
        <a:spcAft>
          <a:spcPct val="0"/>
        </a:spcAft>
        <a:buSzPct val="100000"/>
        <a:buFont typeface="Arial" charset="0"/>
        <a:buChar char="•"/>
        <a:defRPr lang="es-ES" sz="2400" kern="1200">
          <a:solidFill>
            <a:srgbClr val="000000"/>
          </a:solidFill>
          <a:latin typeface="Calibri"/>
        </a:defRPr>
      </a:lvl3pPr>
      <a:lvl4pPr marL="1600200" lvl="3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–"/>
        <a:defRPr lang="es-ES" sz="2000" kern="1200">
          <a:solidFill>
            <a:srgbClr val="000000"/>
          </a:solidFill>
          <a:latin typeface="Calibri"/>
        </a:defRPr>
      </a:lvl4pPr>
      <a:lvl5pPr marL="2057400" lvl="4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»"/>
        <a:defRPr lang="es-ES" sz="2000" kern="1200">
          <a:solidFill>
            <a:srgbClr val="000000"/>
          </a:solidFill>
          <a:latin typeface="Calibri"/>
        </a:defRPr>
      </a:lvl5pPr>
      <a:lvl6pPr marL="2514600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»"/>
        <a:defRPr lang="es-ES" sz="2000" kern="1200">
          <a:solidFill>
            <a:srgbClr val="000000"/>
          </a:solidFill>
          <a:latin typeface="Calibri"/>
        </a:defRPr>
      </a:lvl6pPr>
      <a:lvl7pPr marL="2971800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»"/>
        <a:defRPr lang="es-ES" sz="2000" kern="1200">
          <a:solidFill>
            <a:srgbClr val="000000"/>
          </a:solidFill>
          <a:latin typeface="Calibri"/>
        </a:defRPr>
      </a:lvl7pPr>
      <a:lvl8pPr marL="3429000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»"/>
        <a:defRPr lang="es-ES" sz="2000" kern="1200">
          <a:solidFill>
            <a:srgbClr val="000000"/>
          </a:solidFill>
          <a:latin typeface="Calibri"/>
        </a:defRPr>
      </a:lvl8pPr>
      <a:lvl9pPr marL="3886200" indent="-228600" algn="l" rtl="0" eaLnBrk="1" fontAlgn="base" hangingPunct="1">
        <a:spcBef>
          <a:spcPts val="500"/>
        </a:spcBef>
        <a:spcAft>
          <a:spcPct val="0"/>
        </a:spcAft>
        <a:buSzPct val="100000"/>
        <a:buFont typeface="Arial" charset="0"/>
        <a:buChar char="»"/>
        <a:defRPr lang="es-ES" sz="2000" kern="1200">
          <a:solidFill>
            <a:srgbClr val="000000"/>
          </a:solidFill>
          <a:latin typeface="Calibri"/>
        </a:defRPr>
      </a:lvl9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13" Type="http://schemas.microsoft.com/office/2007/relationships/diagramDrawing" Target="../diagrams/drawing7.xml"/><Relationship Id="rId18" Type="http://schemas.microsoft.com/office/2007/relationships/diagramDrawing" Target="../diagrams/drawing8.xml"/><Relationship Id="rId3" Type="http://schemas.openxmlformats.org/officeDocument/2006/relationships/notesSlide" Target="../notesSlides/notesSlide6.xml"/><Relationship Id="rId21" Type="http://schemas.openxmlformats.org/officeDocument/2006/relationships/diagramQuickStyle" Target="../diagrams/quickStyle9.xml"/><Relationship Id="rId7" Type="http://schemas.openxmlformats.org/officeDocument/2006/relationships/diagramColors" Target="../diagrams/colors6.xml"/><Relationship Id="rId12" Type="http://schemas.openxmlformats.org/officeDocument/2006/relationships/diagramColors" Target="../diagrams/colors7.xml"/><Relationship Id="rId17" Type="http://schemas.openxmlformats.org/officeDocument/2006/relationships/diagramColors" Target="../diagrams/colors8.xml"/><Relationship Id="rId2" Type="http://schemas.openxmlformats.org/officeDocument/2006/relationships/slideLayout" Target="../slideLayouts/slideLayout4.xml"/><Relationship Id="rId16" Type="http://schemas.openxmlformats.org/officeDocument/2006/relationships/diagramQuickStyle" Target="../diagrams/quickStyle8.xml"/><Relationship Id="rId20" Type="http://schemas.openxmlformats.org/officeDocument/2006/relationships/diagramLayout" Target="../diagrams/layout9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6.xml"/><Relationship Id="rId11" Type="http://schemas.openxmlformats.org/officeDocument/2006/relationships/diagramQuickStyle" Target="../diagrams/quickStyle7.xml"/><Relationship Id="rId5" Type="http://schemas.openxmlformats.org/officeDocument/2006/relationships/diagramLayout" Target="../diagrams/layout6.xml"/><Relationship Id="rId15" Type="http://schemas.openxmlformats.org/officeDocument/2006/relationships/diagramLayout" Target="../diagrams/layout8.xml"/><Relationship Id="rId23" Type="http://schemas.microsoft.com/office/2007/relationships/diagramDrawing" Target="../diagrams/drawing9.xml"/><Relationship Id="rId10" Type="http://schemas.openxmlformats.org/officeDocument/2006/relationships/diagramLayout" Target="../diagrams/layout7.xml"/><Relationship Id="rId19" Type="http://schemas.openxmlformats.org/officeDocument/2006/relationships/diagramData" Target="../diagrams/data9.xml"/><Relationship Id="rId4" Type="http://schemas.openxmlformats.org/officeDocument/2006/relationships/diagramData" Target="../diagrams/data6.xml"/><Relationship Id="rId9" Type="http://schemas.openxmlformats.org/officeDocument/2006/relationships/diagramData" Target="../diagrams/data7.xml"/><Relationship Id="rId14" Type="http://schemas.openxmlformats.org/officeDocument/2006/relationships/diagramData" Target="../diagrams/data8.xml"/><Relationship Id="rId22" Type="http://schemas.openxmlformats.org/officeDocument/2006/relationships/diagramColors" Target="../diagrams/colors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microsoft.com/office/2007/relationships/diagramDrawing" Target="../diagrams/drawing2.xml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11" Type="http://schemas.openxmlformats.org/officeDocument/2006/relationships/diagramQuickStyle" Target="../diagrams/quickStyle2.xml"/><Relationship Id="rId5" Type="http://schemas.openxmlformats.org/officeDocument/2006/relationships/image" Target="../media/image14.png"/><Relationship Id="rId10" Type="http://schemas.openxmlformats.org/officeDocument/2006/relationships/diagramLayout" Target="../diagrams/layout2.xml"/><Relationship Id="rId4" Type="http://schemas.microsoft.com/office/2007/relationships/hdphoto" Target="../media/hdphoto1.wdp"/><Relationship Id="rId9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notesSlide" Target="../notesSlides/notesSlide4.xml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18.png"/><Relationship Id="rId9" Type="http://schemas.microsoft.com/office/2007/relationships/diagramDrawing" Target="../diagrams/drawing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jpeg"/><Relationship Id="rId18" Type="http://schemas.openxmlformats.org/officeDocument/2006/relationships/image" Target="../media/image33.jpeg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36.jpeg"/><Relationship Id="rId7" Type="http://schemas.openxmlformats.org/officeDocument/2006/relationships/image" Target="../media/image22.png"/><Relationship Id="rId12" Type="http://schemas.openxmlformats.org/officeDocument/2006/relationships/image" Target="../media/image27.jpeg"/><Relationship Id="rId17" Type="http://schemas.openxmlformats.org/officeDocument/2006/relationships/image" Target="../media/image32.jpe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1.jpeg"/><Relationship Id="rId20" Type="http://schemas.openxmlformats.org/officeDocument/2006/relationships/image" Target="../media/image35.jpeg"/><Relationship Id="rId1" Type="http://schemas.openxmlformats.org/officeDocument/2006/relationships/tags" Target="../tags/tag3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jpeg"/><Relationship Id="rId19" Type="http://schemas.openxmlformats.org/officeDocument/2006/relationships/image" Target="../media/image34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Relationship Id="rId1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/>
          <p:cNvSpPr txBox="1"/>
          <p:nvPr/>
        </p:nvSpPr>
        <p:spPr>
          <a:xfrm>
            <a:off x="1415480" y="2367260"/>
            <a:ext cx="9433048" cy="1323439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 extrusionH="57150">
              <a:bevelT w="38100" h="38100" prst="angle"/>
            </a:sp3d>
          </a:bodyPr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4000" b="1" spc="50" dirty="0" err="1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Transformative</a:t>
            </a:r>
            <a:r>
              <a:rPr lang="es-EC" sz="4000" b="1" spc="50" dirty="0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 </a:t>
            </a:r>
            <a:r>
              <a:rPr lang="es-EC" sz="4000" b="1" spc="50" dirty="0" err="1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Initiatives</a:t>
            </a:r>
            <a:r>
              <a:rPr lang="es-EC" sz="4000" b="1" spc="50" dirty="0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 in </a:t>
            </a:r>
            <a:r>
              <a:rPr lang="es-EC" sz="4000" b="1" spc="50" dirty="0" err="1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Biodiversity</a:t>
            </a:r>
            <a:r>
              <a:rPr lang="es-EC" sz="4000" b="1" spc="50" dirty="0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 </a:t>
            </a:r>
            <a:r>
              <a:rPr lang="es-EC" sz="4000" b="1" spc="50" dirty="0" err="1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Mainstreaming</a:t>
            </a:r>
            <a:r>
              <a:rPr lang="es-EC" sz="4000" b="1" spc="50" dirty="0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 and </a:t>
            </a:r>
            <a:r>
              <a:rPr lang="es-EC" sz="4000" b="1" spc="50" dirty="0" err="1">
                <a:ln w="0"/>
                <a:solidFill>
                  <a:srgbClr val="CC0000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Calibri"/>
              </a:rPr>
              <a:t>Financing</a:t>
            </a:r>
            <a:endParaRPr lang="es-EC" sz="4000" b="1" spc="50" dirty="0">
              <a:ln w="0"/>
              <a:solidFill>
                <a:srgbClr val="CC0000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Calibri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45697" y="1142107"/>
            <a:ext cx="847725" cy="81915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79776" y="1242337"/>
            <a:ext cx="1828800" cy="695325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109324" y="3983349"/>
            <a:ext cx="886273" cy="1635493"/>
          </a:xfrm>
          <a:prstGeom prst="rect">
            <a:avLst/>
          </a:prstGeom>
        </p:spPr>
      </p:pic>
      <p:sp>
        <p:nvSpPr>
          <p:cNvPr id="22" name="CuadroTexto 21"/>
          <p:cNvSpPr txBox="1"/>
          <p:nvPr/>
        </p:nvSpPr>
        <p:spPr>
          <a:xfrm>
            <a:off x="961254" y="384971"/>
            <a:ext cx="10341499" cy="67710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  <a:sp3d extrusionH="57150">
              <a:bevelT w="38100" h="38100" prst="angle"/>
            </a:sp3d>
          </a:bodyPr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800" b="1" spc="50" dirty="0" smtClean="0">
                <a:ln w="0"/>
                <a:solidFill>
                  <a:srgbClr val="339933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Aharoni" panose="02010803020104030203" pitchFamily="2" charset="-79"/>
                <a:cs typeface="Aharoni" panose="02010803020104030203" pitchFamily="2" charset="-79"/>
              </a:rPr>
              <a:t>CONVENTION ON BIOLOGICAL DIVERSITY</a:t>
            </a:r>
            <a:endParaRPr lang="es-EC" sz="3800" b="1" spc="50" dirty="0">
              <a:ln w="0"/>
              <a:solidFill>
                <a:srgbClr val="339933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59496" y="3866629"/>
            <a:ext cx="8582025" cy="18288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78718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Diagrama"/>
          <p:cNvGraphicFramePr/>
          <p:nvPr/>
        </p:nvGraphicFramePr>
        <p:xfrm>
          <a:off x="2176015" y="1484784"/>
          <a:ext cx="831247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2 Grupo"/>
          <p:cNvGrpSpPr/>
          <p:nvPr/>
        </p:nvGrpSpPr>
        <p:grpSpPr>
          <a:xfrm>
            <a:off x="6600055" y="1592936"/>
            <a:ext cx="1872000" cy="1260000"/>
            <a:chOff x="3199906" y="766365"/>
            <a:chExt cx="1533921" cy="102261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4" name="3 Rectángulo redondeado"/>
            <p:cNvSpPr/>
            <p:nvPr/>
          </p:nvSpPr>
          <p:spPr>
            <a:xfrm>
              <a:off x="3199906" y="766365"/>
              <a:ext cx="1533921" cy="1022614"/>
            </a:xfrm>
            <a:prstGeom prst="roundRect">
              <a:avLst>
                <a:gd name="adj" fmla="val 10000"/>
              </a:avLst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4 Rectángulo"/>
            <p:cNvSpPr/>
            <p:nvPr/>
          </p:nvSpPr>
          <p:spPr>
            <a:xfrm>
              <a:off x="3229857" y="796316"/>
              <a:ext cx="1474019" cy="96271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 smtClean="0">
                  <a:solidFill>
                    <a:schemeClr val="bg1"/>
                  </a:solidFill>
                </a:rPr>
                <a:t>Wildlife</a:t>
              </a:r>
              <a:endParaRPr lang="en-GB" sz="20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5 Grupo"/>
          <p:cNvGrpSpPr/>
          <p:nvPr/>
        </p:nvGrpSpPr>
        <p:grpSpPr>
          <a:xfrm>
            <a:off x="8544271" y="1592936"/>
            <a:ext cx="1872000" cy="1260000"/>
            <a:chOff x="3199906" y="766365"/>
            <a:chExt cx="1533921" cy="1022614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" name="6 Rectángulo redondeado"/>
            <p:cNvSpPr/>
            <p:nvPr/>
          </p:nvSpPr>
          <p:spPr>
            <a:xfrm>
              <a:off x="3199906" y="766365"/>
              <a:ext cx="1533921" cy="1022614"/>
            </a:xfrm>
            <a:prstGeom prst="roundRect">
              <a:avLst>
                <a:gd name="adj" fmla="val 10000"/>
              </a:avLst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3229857" y="796316"/>
              <a:ext cx="1474019" cy="96271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dirty="0" smtClean="0">
                  <a:solidFill>
                    <a:schemeClr val="bg1"/>
                  </a:solidFill>
                </a:rPr>
                <a:t>Non Timber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dirty="0" smtClean="0">
                  <a:solidFill>
                    <a:schemeClr val="bg1"/>
                  </a:solidFill>
                </a:rPr>
                <a:t>Forest Products</a:t>
              </a:r>
              <a:endParaRPr lang="en-GB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9 CuadroTexto"/>
          <p:cNvSpPr txBox="1"/>
          <p:nvPr/>
        </p:nvSpPr>
        <p:spPr>
          <a:xfrm rot="16200000">
            <a:off x="-714853" y="3615118"/>
            <a:ext cx="4968553" cy="7078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4000" b="1" dirty="0" smtClean="0"/>
              <a:t>Bio-industries</a:t>
            </a:r>
          </a:p>
        </p:txBody>
      </p:sp>
      <p:sp>
        <p:nvSpPr>
          <p:cNvPr id="11" name="21 Rectángulo"/>
          <p:cNvSpPr/>
          <p:nvPr>
            <p:custDataLst>
              <p:tags r:id="rId1"/>
            </p:custDataLst>
          </p:nvPr>
        </p:nvSpPr>
        <p:spPr>
          <a:xfrm>
            <a:off x="263352" y="332656"/>
            <a:ext cx="10416480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Pla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for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Well-Being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(PNBV)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="" xmlns:p14="http://schemas.microsoft.com/office/powerpoint/2010/main" val="858483527"/>
              </p:ext>
            </p:extLst>
          </p:nvPr>
        </p:nvGraphicFramePr>
        <p:xfrm>
          <a:off x="1991544" y="1268760"/>
          <a:ext cx="7560840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21 Rectángulo"/>
          <p:cNvSpPr/>
          <p:nvPr>
            <p:custDataLst>
              <p:tags r:id="rId1"/>
            </p:custDataLst>
          </p:nvPr>
        </p:nvSpPr>
        <p:spPr>
          <a:xfrm>
            <a:off x="479376" y="404664"/>
            <a:ext cx="9865096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itiatives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oriented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o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tegrat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to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public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policies</a:t>
            </a:r>
            <a:endParaRPr lang="es-EC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sp>
        <p:nvSpPr>
          <p:cNvPr id="5" name="Elipse 4"/>
          <p:cNvSpPr/>
          <p:nvPr/>
        </p:nvSpPr>
        <p:spPr>
          <a:xfrm>
            <a:off x="9768408" y="1844824"/>
            <a:ext cx="1800000" cy="133200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600" b="1" dirty="0" smtClean="0"/>
              <a:t>NBSAP</a:t>
            </a:r>
            <a:endParaRPr lang="es-EC" sz="1600" b="1" dirty="0"/>
          </a:p>
        </p:txBody>
      </p:sp>
      <p:sp>
        <p:nvSpPr>
          <p:cNvPr id="6" name="Elipse 5"/>
          <p:cNvSpPr/>
          <p:nvPr/>
        </p:nvSpPr>
        <p:spPr>
          <a:xfrm>
            <a:off x="9768408" y="4437112"/>
            <a:ext cx="1800000" cy="1332000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Resources Mobilization</a:t>
            </a:r>
            <a:endParaRPr lang="en-US" sz="1600" b="1" dirty="0"/>
          </a:p>
        </p:txBody>
      </p:sp>
      <p:sp>
        <p:nvSpPr>
          <p:cNvPr id="7" name="Flecha arriba y abajo 6"/>
          <p:cNvSpPr/>
          <p:nvPr/>
        </p:nvSpPr>
        <p:spPr>
          <a:xfrm>
            <a:off x="10344472" y="3212976"/>
            <a:ext cx="720080" cy="1224136"/>
          </a:xfrm>
          <a:prstGeom prst="upDownArrow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="" xmlns:p14="http://schemas.microsoft.com/office/powerpoint/2010/main" val="18882067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C58F032-86EC-491E-8894-6BC028A01B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4C58F032-86EC-491E-8894-6BC028A01B8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6E4A3A0-3E99-460F-A278-75B1F9A244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graphicEl>
                                              <a:dgm id="{D6E4A3A0-3E99-460F-A278-75B1F9A244D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C189EAC5-B110-497C-A327-F404AC86F9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graphicEl>
                                              <a:dgm id="{C189EAC5-B110-497C-A327-F404AC86F9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AA1E2935-3F36-4230-8A01-2840FFA9DE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graphicEl>
                                              <a:dgm id="{AA1E2935-3F36-4230-8A01-2840FFA9DEB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Dgm bld="one"/>
        </p:bldSub>
      </p:bldGraphic>
      <p:bldP spid="5" grpId="0" animBg="1"/>
      <p:bldP spid="6" grpId="0" animBg="1"/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2116086" y="1484214"/>
            <a:ext cx="7959828" cy="4873744"/>
            <a:chOff x="2116086" y="1484214"/>
            <a:chExt cx="7959828" cy="4873744"/>
          </a:xfrm>
        </p:grpSpPr>
        <p:sp>
          <p:nvSpPr>
            <p:cNvPr id="11" name="10 CuadroTexto"/>
            <p:cNvSpPr txBox="1"/>
            <p:nvPr/>
          </p:nvSpPr>
          <p:spPr>
            <a:xfrm>
              <a:off x="4302335" y="3273982"/>
              <a:ext cx="3299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dirty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Cuentas de Activos Ambientales</a:t>
              </a:r>
            </a:p>
          </p:txBody>
        </p:sp>
        <p:grpSp>
          <p:nvGrpSpPr>
            <p:cNvPr id="15" name="14 Grupo"/>
            <p:cNvGrpSpPr/>
            <p:nvPr/>
          </p:nvGrpSpPr>
          <p:grpSpPr>
            <a:xfrm>
              <a:off x="2116086" y="1484214"/>
              <a:ext cx="7959828" cy="4873744"/>
              <a:chOff x="428596" y="1412776"/>
              <a:chExt cx="7959828" cy="4873744"/>
            </a:xfrm>
          </p:grpSpPr>
          <p:graphicFrame>
            <p:nvGraphicFramePr>
              <p:cNvPr id="7" name="6 Diagrama"/>
              <p:cNvGraphicFramePr/>
              <p:nvPr/>
            </p:nvGraphicFramePr>
            <p:xfrm>
              <a:off x="467544" y="1412776"/>
              <a:ext cx="7920880" cy="237626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4" r:lo="rId5" r:qs="rId6" r:cs="rId7"/>
              </a:graphicData>
            </a:graphic>
          </p:graphicFrame>
          <p:grpSp>
            <p:nvGrpSpPr>
              <p:cNvPr id="14" name="13 Grupo"/>
              <p:cNvGrpSpPr/>
              <p:nvPr/>
            </p:nvGrpSpPr>
            <p:grpSpPr>
              <a:xfrm>
                <a:off x="428596" y="3857628"/>
                <a:ext cx="7929618" cy="2428892"/>
                <a:chOff x="428596" y="3857628"/>
                <a:chExt cx="7929618" cy="2428892"/>
              </a:xfrm>
            </p:grpSpPr>
            <p:graphicFrame>
              <p:nvGraphicFramePr>
                <p:cNvPr id="9" name="8 Diagrama"/>
                <p:cNvGraphicFramePr/>
                <p:nvPr/>
              </p:nvGraphicFramePr>
              <p:xfrm>
                <a:off x="428596" y="3910520"/>
                <a:ext cx="3960000" cy="2376000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9" r:lo="rId10" r:qs="rId11" r:cs="rId12"/>
                </a:graphicData>
              </a:graphic>
            </p:graphicFrame>
            <p:graphicFrame>
              <p:nvGraphicFramePr>
                <p:cNvPr id="10" name="9 Diagrama"/>
                <p:cNvGraphicFramePr/>
                <p:nvPr>
                  <p:extLst/>
                </p:nvPr>
              </p:nvGraphicFramePr>
              <p:xfrm>
                <a:off x="4449950" y="3857628"/>
                <a:ext cx="1908000" cy="2376000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14" r:lo="rId15" r:qs="rId16" r:cs="rId17"/>
                </a:graphicData>
              </a:graphic>
            </p:graphicFrame>
            <p:sp>
              <p:nvSpPr>
                <p:cNvPr id="12" name="11 CuadroTexto"/>
                <p:cNvSpPr txBox="1"/>
                <p:nvPr/>
              </p:nvSpPr>
              <p:spPr>
                <a:xfrm>
                  <a:off x="963971" y="5774312"/>
                  <a:ext cx="3084499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" dirty="0" err="1" smtClean="0">
                      <a:solidFill>
                        <a:schemeClr val="bg1">
                          <a:lumMod val="95000"/>
                        </a:schemeClr>
                      </a:solidFill>
                      <a:latin typeface="Candara" pitchFamily="34" charset="0"/>
                    </a:rPr>
                    <a:t>Environmental</a:t>
                  </a:r>
                  <a:r>
                    <a:rPr lang="es-ES" dirty="0" smtClean="0">
                      <a:solidFill>
                        <a:schemeClr val="bg1">
                          <a:lumMod val="95000"/>
                        </a:schemeClr>
                      </a:solidFill>
                      <a:latin typeface="Candara" pitchFamily="34" charset="0"/>
                    </a:rPr>
                    <a:t> </a:t>
                  </a:r>
                  <a:r>
                    <a:rPr lang="es-ES" dirty="0" err="1" smtClean="0">
                      <a:solidFill>
                        <a:schemeClr val="bg1">
                          <a:lumMod val="95000"/>
                        </a:schemeClr>
                      </a:solidFill>
                      <a:latin typeface="Candara" pitchFamily="34" charset="0"/>
                    </a:rPr>
                    <a:t>Flows</a:t>
                  </a:r>
                  <a:r>
                    <a:rPr lang="es-ES" dirty="0" smtClean="0">
                      <a:solidFill>
                        <a:schemeClr val="bg1">
                          <a:lumMod val="95000"/>
                        </a:schemeClr>
                      </a:solidFill>
                      <a:latin typeface="Candara" pitchFamily="34" charset="0"/>
                    </a:rPr>
                    <a:t> </a:t>
                  </a:r>
                  <a:r>
                    <a:rPr lang="es-ES" dirty="0" err="1" smtClean="0">
                      <a:solidFill>
                        <a:schemeClr val="bg1">
                          <a:lumMod val="95000"/>
                        </a:schemeClr>
                      </a:solidFill>
                      <a:latin typeface="Candara" pitchFamily="34" charset="0"/>
                    </a:rPr>
                    <a:t>Account</a:t>
                  </a:r>
                  <a:endParaRPr lang="es-ES" dirty="0">
                    <a:solidFill>
                      <a:schemeClr val="bg1">
                        <a:lumMod val="95000"/>
                      </a:schemeClr>
                    </a:solidFill>
                    <a:latin typeface="Candara" pitchFamily="34" charset="0"/>
                  </a:endParaRPr>
                </a:p>
              </p:txBody>
            </p:sp>
            <p:graphicFrame>
              <p:nvGraphicFramePr>
                <p:cNvPr id="13" name="12 Diagrama"/>
                <p:cNvGraphicFramePr/>
                <p:nvPr>
                  <p:extLst/>
                </p:nvPr>
              </p:nvGraphicFramePr>
              <p:xfrm>
                <a:off x="6450214" y="3857628"/>
                <a:ext cx="1908000" cy="2376000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19" r:lo="rId20" r:qs="rId21" r:cs="rId22"/>
                </a:graphicData>
              </a:graphic>
            </p:graphicFrame>
          </p:grpSp>
        </p:grpSp>
        <p:sp>
          <p:nvSpPr>
            <p:cNvPr id="17" name="16 CuadroTexto"/>
            <p:cNvSpPr txBox="1"/>
            <p:nvPr/>
          </p:nvSpPr>
          <p:spPr>
            <a:xfrm>
              <a:off x="3212220" y="3345420"/>
              <a:ext cx="59081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dirty="0" err="1" smtClean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Environmental</a:t>
              </a:r>
              <a:r>
                <a:rPr lang="es-ES" dirty="0" smtClean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 </a:t>
              </a:r>
              <a:r>
                <a:rPr lang="es-ES" dirty="0" err="1" smtClean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Assets</a:t>
              </a:r>
              <a:r>
                <a:rPr lang="es-ES" dirty="0" smtClean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 </a:t>
              </a:r>
              <a:r>
                <a:rPr lang="es-ES" dirty="0" err="1" smtClean="0">
                  <a:solidFill>
                    <a:schemeClr val="bg1">
                      <a:lumMod val="95000"/>
                    </a:schemeClr>
                  </a:solidFill>
                  <a:latin typeface="Candara" pitchFamily="34" charset="0"/>
                </a:rPr>
                <a:t>Account</a:t>
              </a:r>
              <a:endParaRPr lang="es-ES" dirty="0">
                <a:solidFill>
                  <a:schemeClr val="bg1">
                    <a:lumMod val="95000"/>
                  </a:schemeClr>
                </a:solidFill>
                <a:latin typeface="Candara" pitchFamily="34" charset="0"/>
              </a:endParaRPr>
            </a:p>
          </p:txBody>
        </p:sp>
      </p:grpSp>
      <p:sp>
        <p:nvSpPr>
          <p:cNvPr id="18" name="21 Rectángulo"/>
          <p:cNvSpPr/>
          <p:nvPr>
            <p:custDataLst>
              <p:tags r:id="rId1"/>
            </p:custDataLst>
          </p:nvPr>
        </p:nvSpPr>
        <p:spPr>
          <a:xfrm>
            <a:off x="479376" y="404664"/>
            <a:ext cx="9865096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itiatives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-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System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on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Environmental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Accounting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sp>
        <p:nvSpPr>
          <p:cNvPr id="3" name="Elipse 2"/>
          <p:cNvSpPr/>
          <p:nvPr/>
        </p:nvSpPr>
        <p:spPr>
          <a:xfrm>
            <a:off x="5759424" y="3345420"/>
            <a:ext cx="4945088" cy="351258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6" name="15 CuadroTexto"/>
          <p:cNvSpPr txBox="1"/>
          <p:nvPr/>
        </p:nvSpPr>
        <p:spPr>
          <a:xfrm rot="16200000">
            <a:off x="-709916" y="3466165"/>
            <a:ext cx="4680520" cy="86177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/>
            <a:r>
              <a:rPr lang="es-EC" sz="5000" b="1" dirty="0" smtClean="0">
                <a:solidFill>
                  <a:schemeClr val="bg1"/>
                </a:solidFill>
              </a:rPr>
              <a:t>SEEA</a:t>
            </a:r>
            <a:endParaRPr lang="es-EC" sz="5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904092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1 Rectángulo"/>
          <p:cNvSpPr/>
          <p:nvPr>
            <p:custDataLst>
              <p:tags r:id="rId1"/>
            </p:custDataLst>
          </p:nvPr>
        </p:nvSpPr>
        <p:spPr>
          <a:xfrm>
            <a:off x="479376" y="404664"/>
            <a:ext cx="9865096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itiatives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-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Guide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on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Public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Expenses of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Environmental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Policy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463348" y="1628800"/>
            <a:ext cx="10441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800" b="1" dirty="0" err="1" smtClean="0"/>
              <a:t>Public</a:t>
            </a:r>
            <a:r>
              <a:rPr lang="es-EC" sz="2800" b="1" dirty="0" smtClean="0"/>
              <a:t> </a:t>
            </a:r>
            <a:r>
              <a:rPr lang="es-EC" sz="2800" b="1" dirty="0" err="1" smtClean="0"/>
              <a:t>policy</a:t>
            </a:r>
            <a:r>
              <a:rPr lang="es-EC" sz="2800" b="1" dirty="0" smtClean="0"/>
              <a:t> </a:t>
            </a:r>
            <a:r>
              <a:rPr lang="es-EC" sz="2800" b="1" dirty="0" err="1" smtClean="0"/>
              <a:t>integration</a:t>
            </a:r>
            <a:r>
              <a:rPr lang="es-EC" sz="2800" b="1" dirty="0" smtClean="0"/>
              <a:t> </a:t>
            </a:r>
            <a:r>
              <a:rPr lang="es-EC" sz="2800" b="1" dirty="0" err="1" smtClean="0"/>
              <a:t>with</a:t>
            </a:r>
            <a:r>
              <a:rPr lang="es-EC" sz="2800" b="1" dirty="0" smtClean="0"/>
              <a:t> </a:t>
            </a:r>
            <a:r>
              <a:rPr lang="es-EC" sz="2800" b="1" dirty="0" err="1" smtClean="0"/>
              <a:t>public</a:t>
            </a:r>
            <a:r>
              <a:rPr lang="es-EC" sz="2800" b="1" dirty="0" smtClean="0"/>
              <a:t> </a:t>
            </a:r>
            <a:r>
              <a:rPr lang="es-EC" sz="2800" b="1" dirty="0" err="1" smtClean="0"/>
              <a:t>investment</a:t>
            </a:r>
            <a:endParaRPr lang="es-EC" sz="2800" b="1" dirty="0"/>
          </a:p>
        </p:txBody>
      </p:sp>
      <p:grpSp>
        <p:nvGrpSpPr>
          <p:cNvPr id="12" name="Grupo 11"/>
          <p:cNvGrpSpPr/>
          <p:nvPr/>
        </p:nvGrpSpPr>
        <p:grpSpPr>
          <a:xfrm>
            <a:off x="1271464" y="2512060"/>
            <a:ext cx="10009112" cy="3784806"/>
            <a:chOff x="1271464" y="2512060"/>
            <a:chExt cx="10009112" cy="3784806"/>
          </a:xfrm>
        </p:grpSpPr>
        <p:grpSp>
          <p:nvGrpSpPr>
            <p:cNvPr id="5" name="Grupo 4"/>
            <p:cNvGrpSpPr/>
            <p:nvPr/>
          </p:nvGrpSpPr>
          <p:grpSpPr>
            <a:xfrm>
              <a:off x="1271464" y="2512060"/>
              <a:ext cx="10009112" cy="3784806"/>
              <a:chOff x="911424" y="2246351"/>
              <a:chExt cx="10369152" cy="4050515"/>
            </a:xfrm>
            <a:noFill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graphicFrame>
            <p:nvGraphicFramePr>
              <p:cNvPr id="2" name="Diagrama 1"/>
              <p:cNvGraphicFramePr/>
              <p:nvPr>
                <p:extLst>
                  <p:ext uri="{D42A27DB-BD31-4B8C-83A1-F6EECF244321}">
                    <p14:modId xmlns="" xmlns:p14="http://schemas.microsoft.com/office/powerpoint/2010/main" val="3897764715"/>
                  </p:ext>
                </p:extLst>
              </p:nvPr>
            </p:nvGraphicFramePr>
            <p:xfrm>
              <a:off x="911424" y="2246351"/>
              <a:ext cx="10369152" cy="405051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sp>
            <p:nvSpPr>
              <p:cNvPr id="3" name="CuadroTexto 2"/>
              <p:cNvSpPr txBox="1"/>
              <p:nvPr/>
            </p:nvSpPr>
            <p:spPr>
              <a:xfrm>
                <a:off x="1122786" y="4274198"/>
                <a:ext cx="1653593" cy="461137"/>
              </a:xfrm>
              <a:prstGeom prst="rect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C" sz="2200" b="1" dirty="0" err="1" smtClean="0">
                    <a:solidFill>
                      <a:schemeClr val="bg1"/>
                    </a:solidFill>
                  </a:rPr>
                  <a:t>Protection</a:t>
                </a:r>
                <a:endParaRPr lang="es-EC" sz="2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" name="CuadroTexto 6"/>
              <p:cNvSpPr txBox="1"/>
              <p:nvPr/>
            </p:nvSpPr>
            <p:spPr>
              <a:xfrm>
                <a:off x="3143672" y="4293096"/>
                <a:ext cx="1800200" cy="461137"/>
              </a:xfrm>
              <a:prstGeom prst="rect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C" sz="2200" b="1" dirty="0" err="1" smtClean="0">
                    <a:solidFill>
                      <a:schemeClr val="bg1"/>
                    </a:solidFill>
                  </a:rPr>
                  <a:t>Restoration</a:t>
                </a:r>
                <a:endParaRPr lang="es-EC" sz="2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CuadroTexto 7"/>
              <p:cNvSpPr txBox="1"/>
              <p:nvPr/>
            </p:nvSpPr>
            <p:spPr>
              <a:xfrm>
                <a:off x="7289962" y="4306455"/>
                <a:ext cx="1800200" cy="461137"/>
              </a:xfrm>
              <a:prstGeom prst="rect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C" sz="2200" b="1" dirty="0" err="1" smtClean="0">
                    <a:solidFill>
                      <a:schemeClr val="bg1"/>
                    </a:solidFill>
                  </a:rPr>
                  <a:t>Valuation</a:t>
                </a:r>
                <a:endParaRPr lang="es-EC" sz="2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CuadroTexto 8"/>
              <p:cNvSpPr txBox="1"/>
              <p:nvPr/>
            </p:nvSpPr>
            <p:spPr>
              <a:xfrm>
                <a:off x="4939728" y="4293096"/>
                <a:ext cx="2312545" cy="461137"/>
              </a:xfrm>
              <a:prstGeom prst="rect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C" sz="2200" b="1" dirty="0" err="1" smtClean="0">
                    <a:solidFill>
                      <a:schemeClr val="bg1"/>
                    </a:solidFill>
                  </a:rPr>
                  <a:t>Sustainable</a:t>
                </a:r>
                <a:r>
                  <a:rPr lang="es-EC" sz="2200" b="1" dirty="0" smtClean="0">
                    <a:solidFill>
                      <a:schemeClr val="bg1"/>
                    </a:solidFill>
                  </a:rPr>
                  <a:t> use</a:t>
                </a:r>
                <a:endParaRPr lang="es-EC" sz="2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CuadroTexto 9"/>
              <p:cNvSpPr txBox="1"/>
              <p:nvPr/>
            </p:nvSpPr>
            <p:spPr>
              <a:xfrm>
                <a:off x="9415621" y="4293096"/>
                <a:ext cx="1800200" cy="461137"/>
              </a:xfrm>
              <a:prstGeom prst="rect">
                <a:avLst/>
              </a:prstGeom>
              <a:grpFill/>
              <a:ln>
                <a:noFill/>
              </a:ln>
              <a:effectLst/>
              <a:sp3d>
                <a:bevelT w="139700" h="139700"/>
              </a:sp3d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C" sz="2200" b="1" dirty="0" err="1" smtClean="0">
                    <a:solidFill>
                      <a:schemeClr val="bg1"/>
                    </a:solidFill>
                  </a:rPr>
                  <a:t>Research</a:t>
                </a:r>
                <a:endParaRPr lang="es-EC" sz="22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" name="CuadroTexto 10"/>
            <p:cNvSpPr txBox="1"/>
            <p:nvPr/>
          </p:nvSpPr>
          <p:spPr>
            <a:xfrm>
              <a:off x="1880347" y="5432161"/>
              <a:ext cx="888311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C" sz="2200" b="1" dirty="0" err="1" smtClean="0"/>
                <a:t>Cathegories</a:t>
              </a:r>
              <a:r>
                <a:rPr lang="es-EC" sz="2200" b="1" dirty="0" smtClean="0"/>
                <a:t> </a:t>
              </a:r>
              <a:r>
                <a:rPr lang="es-EC" sz="2200" b="1" dirty="0" err="1" smtClean="0"/>
                <a:t>included</a:t>
              </a:r>
              <a:r>
                <a:rPr lang="es-EC" sz="2200" b="1" dirty="0" smtClean="0"/>
                <a:t> in </a:t>
              </a:r>
              <a:r>
                <a:rPr lang="es-EC" sz="2200" b="1" dirty="0" err="1" smtClean="0"/>
                <a:t>the</a:t>
              </a:r>
              <a:r>
                <a:rPr lang="es-EC" sz="2200" b="1" dirty="0" smtClean="0"/>
                <a:t> expenses guide of </a:t>
              </a:r>
              <a:r>
                <a:rPr lang="es-EC" sz="2200" b="1" dirty="0" err="1" smtClean="0"/>
                <a:t>the</a:t>
              </a:r>
              <a:r>
                <a:rPr lang="es-EC" sz="2200" b="1" dirty="0" smtClean="0"/>
                <a:t> </a:t>
              </a:r>
              <a:r>
                <a:rPr lang="es-EC" sz="2200" b="1" dirty="0" err="1" smtClean="0"/>
                <a:t>environmental</a:t>
              </a:r>
              <a:r>
                <a:rPr lang="es-EC" sz="2200" b="1" dirty="0" smtClean="0"/>
                <a:t> </a:t>
              </a:r>
              <a:r>
                <a:rPr lang="es-EC" sz="2200" b="1" dirty="0" err="1" smtClean="0"/>
                <a:t>policy</a:t>
              </a:r>
              <a:endParaRPr lang="es-EC" sz="2200" b="1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24028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68"/>
          <p:cNvGrpSpPr>
            <a:grpSpLocks/>
          </p:cNvGrpSpPr>
          <p:nvPr/>
        </p:nvGrpSpPr>
        <p:grpSpPr bwMode="auto">
          <a:xfrm>
            <a:off x="6830650" y="2996109"/>
            <a:ext cx="2625228" cy="732712"/>
            <a:chOff x="8490367" y="3652740"/>
            <a:chExt cx="2380293" cy="986928"/>
          </a:xfrm>
        </p:grpSpPr>
        <p:sp>
          <p:nvSpPr>
            <p:cNvPr id="7" name="Rounded Rectangle 10"/>
            <p:cNvSpPr/>
            <p:nvPr/>
          </p:nvSpPr>
          <p:spPr>
            <a:xfrm>
              <a:off x="8490367" y="3652740"/>
              <a:ext cx="2380293" cy="986928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8" name="Text Box 3"/>
            <p:cNvSpPr txBox="1">
              <a:spLocks noChangeArrowheads="1"/>
            </p:cNvSpPr>
            <p:nvPr/>
          </p:nvSpPr>
          <p:spPr bwMode="auto">
            <a:xfrm>
              <a:off x="8490367" y="3690587"/>
              <a:ext cx="2332168" cy="870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 dirty="0" smtClean="0">
                  <a:solidFill>
                    <a:schemeClr val="bg1"/>
                  </a:solidFill>
                </a:rPr>
                <a:t>Alignment with National Policies </a:t>
              </a:r>
              <a:r>
                <a:rPr lang="en-US" b="1" dirty="0">
                  <a:solidFill>
                    <a:schemeClr val="bg1"/>
                  </a:solidFill>
                </a:rPr>
                <a:t>- NBSAPs 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56"/>
          <p:cNvGrpSpPr/>
          <p:nvPr/>
        </p:nvGrpSpPr>
        <p:grpSpPr>
          <a:xfrm>
            <a:off x="983432" y="3952179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4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>
                  <a:solidFill>
                    <a:schemeClr val="tx1"/>
                  </a:solidFill>
                </a:rPr>
                <a:t>SCAN (SEEA)</a:t>
              </a:r>
            </a:p>
          </p:txBody>
        </p:sp>
      </p:grpSp>
      <p:grpSp>
        <p:nvGrpSpPr>
          <p:cNvPr id="16" name="Group 57"/>
          <p:cNvGrpSpPr/>
          <p:nvPr/>
        </p:nvGrpSpPr>
        <p:grpSpPr>
          <a:xfrm>
            <a:off x="983432" y="3068960"/>
            <a:ext cx="2520000" cy="720000"/>
            <a:chOff x="4075836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7" name="Rounded Rectangle 58"/>
            <p:cNvSpPr/>
            <p:nvPr/>
          </p:nvSpPr>
          <p:spPr>
            <a:xfrm>
              <a:off x="4075836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2710599"/>
                <a:satOff val="100000"/>
                <a:lumOff val="-14706"/>
                <a:alphaOff val="0"/>
              </a:schemeClr>
            </a:fillRef>
            <a:effectRef idx="2">
              <a:schemeClr val="accent3">
                <a:hueOff val="2710599"/>
                <a:satOff val="100000"/>
                <a:lumOff val="-1470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ounded Rectangle 8"/>
            <p:cNvSpPr/>
            <p:nvPr/>
          </p:nvSpPr>
          <p:spPr>
            <a:xfrm>
              <a:off x="4101386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smtClean="0">
                  <a:solidFill>
                    <a:schemeClr val="tx1"/>
                  </a:solidFill>
                </a:rPr>
                <a:t>BIOFIN</a:t>
              </a:r>
              <a:endParaRPr lang="es-EC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9" name="Flecha derecha 72"/>
          <p:cNvSpPr/>
          <p:nvPr/>
        </p:nvSpPr>
        <p:spPr>
          <a:xfrm rot="5400000">
            <a:off x="7927214" y="3880737"/>
            <a:ext cx="547286" cy="531488"/>
          </a:xfrm>
          <a:prstGeom prst="rightArrow">
            <a:avLst/>
          </a:prstGeom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200"/>
          </a:p>
        </p:txBody>
      </p:sp>
      <p:sp>
        <p:nvSpPr>
          <p:cNvPr id="34" name="Rounded Rectangle 10"/>
          <p:cNvSpPr/>
          <p:nvPr/>
        </p:nvSpPr>
        <p:spPr>
          <a:xfrm>
            <a:off x="6705313" y="4564141"/>
            <a:ext cx="2991087" cy="1152127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 smtClean="0">
                <a:solidFill>
                  <a:schemeClr val="bg1"/>
                </a:solidFill>
              </a:rPr>
              <a:t>National Strategy on Resource Mobilization and its Implementatio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7" name="Flecha derecha 51"/>
          <p:cNvSpPr/>
          <p:nvPr/>
        </p:nvSpPr>
        <p:spPr>
          <a:xfrm>
            <a:off x="6312024" y="3140968"/>
            <a:ext cx="465333" cy="436990"/>
          </a:xfrm>
          <a:prstGeom prst="rightArrow">
            <a:avLst/>
          </a:prstGeom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200"/>
          </a:p>
        </p:txBody>
      </p:sp>
      <p:grpSp>
        <p:nvGrpSpPr>
          <p:cNvPr id="44" name="Group 56"/>
          <p:cNvGrpSpPr/>
          <p:nvPr/>
        </p:nvGrpSpPr>
        <p:grpSpPr>
          <a:xfrm>
            <a:off x="983432" y="2151908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45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err="1" smtClean="0">
                  <a:solidFill>
                    <a:schemeClr val="tx1"/>
                  </a:solidFill>
                </a:rPr>
                <a:t>Financial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Sustainability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in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Protected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Areas</a:t>
              </a:r>
              <a:endParaRPr lang="es-EC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56"/>
          <p:cNvGrpSpPr/>
          <p:nvPr/>
        </p:nvGrpSpPr>
        <p:grpSpPr>
          <a:xfrm>
            <a:off x="983432" y="4888211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48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err="1" smtClean="0">
                  <a:solidFill>
                    <a:schemeClr val="tx1"/>
                  </a:solidFill>
                </a:rPr>
                <a:t>Vulnerability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Analysis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in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Hydroelectrics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</a:t>
              </a:r>
              <a:r>
                <a:rPr lang="es-EC" sz="1600" b="1" dirty="0">
                  <a:solidFill>
                    <a:schemeClr val="tx1"/>
                  </a:solidFill>
                </a:rPr>
                <a:t>CC</a:t>
              </a:r>
            </a:p>
          </p:txBody>
        </p:sp>
      </p:grpSp>
      <p:grpSp>
        <p:nvGrpSpPr>
          <p:cNvPr id="59" name="Group 56"/>
          <p:cNvGrpSpPr/>
          <p:nvPr/>
        </p:nvGrpSpPr>
        <p:grpSpPr>
          <a:xfrm>
            <a:off x="3686451" y="3952108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60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smtClean="0">
                  <a:solidFill>
                    <a:schemeClr val="tx1"/>
                  </a:solidFill>
                </a:rPr>
                <a:t>UN REDD</a:t>
              </a:r>
              <a:endParaRPr lang="es-EC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1" name="Group 56"/>
          <p:cNvGrpSpPr/>
          <p:nvPr/>
        </p:nvGrpSpPr>
        <p:grpSpPr>
          <a:xfrm>
            <a:off x="3724409" y="3107383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2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smtClean="0">
                  <a:solidFill>
                    <a:schemeClr val="tx1"/>
                  </a:solidFill>
                </a:rPr>
                <a:t>TEEB</a:t>
              </a:r>
              <a:endParaRPr lang="es-EC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74" name="21 Rectángulo"/>
          <p:cNvSpPr/>
          <p:nvPr>
            <p:custDataLst>
              <p:tags r:id="rId1"/>
            </p:custDataLst>
          </p:nvPr>
        </p:nvSpPr>
        <p:spPr>
          <a:xfrm>
            <a:off x="479376" y="188640"/>
            <a:ext cx="9865096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Initiatives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-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Economic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valu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of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and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ecosystem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services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grpSp>
        <p:nvGrpSpPr>
          <p:cNvPr id="75" name="Group 57"/>
          <p:cNvGrpSpPr/>
          <p:nvPr/>
        </p:nvGrpSpPr>
        <p:grpSpPr>
          <a:xfrm>
            <a:off x="3724409" y="2164497"/>
            <a:ext cx="2520000" cy="720000"/>
            <a:chOff x="4075836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6" name="Rounded Rectangle 58"/>
            <p:cNvSpPr/>
            <p:nvPr/>
          </p:nvSpPr>
          <p:spPr>
            <a:xfrm>
              <a:off x="4075836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2710599"/>
                <a:satOff val="100000"/>
                <a:lumOff val="-14706"/>
                <a:alphaOff val="0"/>
              </a:schemeClr>
            </a:fillRef>
            <a:effectRef idx="2">
              <a:schemeClr val="accent3">
                <a:hueOff val="2710599"/>
                <a:satOff val="100000"/>
                <a:lumOff val="-1470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Rounded Rectangle 8"/>
            <p:cNvSpPr/>
            <p:nvPr/>
          </p:nvSpPr>
          <p:spPr>
            <a:xfrm>
              <a:off x="4101386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lvl="0"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smtClean="0">
                  <a:solidFill>
                    <a:schemeClr val="tx1"/>
                  </a:solidFill>
                </a:rPr>
                <a:t>TSA: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hydroenergy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,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tourism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,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agricultural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. </a:t>
              </a:r>
              <a:r>
                <a:rPr lang="en-US" sz="1600" b="1" dirty="0" smtClean="0">
                  <a:solidFill>
                    <a:schemeClr val="tx1"/>
                  </a:solidFill>
                </a:rPr>
                <a:t>others</a:t>
              </a:r>
              <a:endParaRPr lang="es-EC" sz="16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78" name="Group 56"/>
          <p:cNvGrpSpPr/>
          <p:nvPr/>
        </p:nvGrpSpPr>
        <p:grpSpPr>
          <a:xfrm>
            <a:off x="3686451" y="4888211"/>
            <a:ext cx="2520000" cy="720000"/>
            <a:chOff x="2040350" y="768646"/>
            <a:chExt cx="1453918" cy="872351"/>
          </a:xfrm>
          <a:solidFill>
            <a:schemeClr val="bg1">
              <a:lumMod val="8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9" name="Rounded Rectangle 60"/>
            <p:cNvSpPr/>
            <p:nvPr/>
          </p:nvSpPr>
          <p:spPr>
            <a:xfrm>
              <a:off x="2040350" y="768646"/>
              <a:ext cx="1453918" cy="872351"/>
            </a:xfrm>
            <a:prstGeom prst="roundRect">
              <a:avLst>
                <a:gd name="adj" fmla="val 10000"/>
              </a:avLst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1355300"/>
                <a:satOff val="50000"/>
                <a:lumOff val="-7353"/>
                <a:alphaOff val="0"/>
              </a:schemeClr>
            </a:fillRef>
            <a:effectRef idx="2">
              <a:schemeClr val="accent3">
                <a:hueOff val="1355300"/>
                <a:satOff val="50000"/>
                <a:lumOff val="-735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0" name="Rounded Rectangle 6"/>
            <p:cNvSpPr/>
            <p:nvPr/>
          </p:nvSpPr>
          <p:spPr>
            <a:xfrm>
              <a:off x="2065900" y="794196"/>
              <a:ext cx="1402818" cy="821251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0010" tIns="80010" rIns="80010" bIns="80010" spcCol="1270" anchor="ctr"/>
            <a:lstStyle/>
            <a:p>
              <a:pPr algn="ctr" defTabSz="9334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C" sz="1600" b="1" dirty="0" err="1" smtClean="0">
                  <a:solidFill>
                    <a:schemeClr val="tx1"/>
                  </a:solidFill>
                </a:rPr>
                <a:t>Assesment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of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mongroves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and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fisheries</a:t>
              </a:r>
              <a:r>
                <a:rPr lang="es-EC" sz="1600" b="1" dirty="0" smtClean="0">
                  <a:solidFill>
                    <a:schemeClr val="tx1"/>
                  </a:solidFill>
                </a:rPr>
                <a:t> </a:t>
              </a:r>
              <a:r>
                <a:rPr lang="es-EC" sz="1600" b="1" dirty="0" err="1" smtClean="0">
                  <a:solidFill>
                    <a:schemeClr val="tx1"/>
                  </a:solidFill>
                </a:rPr>
                <a:t>resources</a:t>
              </a:r>
              <a:endParaRPr lang="es-EC" sz="1600" b="1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Diagrama 4"/>
          <p:cNvGraphicFramePr/>
          <p:nvPr>
            <p:extLst>
              <p:ext uri="{D42A27DB-BD31-4B8C-83A1-F6EECF244321}">
                <p14:modId xmlns="" xmlns:p14="http://schemas.microsoft.com/office/powerpoint/2010/main" val="1860846798"/>
              </p:ext>
            </p:extLst>
          </p:nvPr>
        </p:nvGraphicFramePr>
        <p:xfrm>
          <a:off x="407368" y="1124744"/>
          <a:ext cx="11233248" cy="9996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Grupo 3"/>
          <p:cNvGrpSpPr/>
          <p:nvPr/>
        </p:nvGrpSpPr>
        <p:grpSpPr>
          <a:xfrm>
            <a:off x="9610239" y="3573088"/>
            <a:ext cx="2030377" cy="3024264"/>
            <a:chOff x="9610239" y="3573088"/>
            <a:chExt cx="2030377" cy="3024264"/>
          </a:xfrm>
        </p:grpSpPr>
        <p:sp>
          <p:nvSpPr>
            <p:cNvPr id="2" name="Elipse 1"/>
            <p:cNvSpPr/>
            <p:nvPr/>
          </p:nvSpPr>
          <p:spPr>
            <a:xfrm>
              <a:off x="10062675" y="3645024"/>
              <a:ext cx="1569691" cy="85230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s-EC" b="1" dirty="0" smtClean="0">
                  <a:solidFill>
                    <a:schemeClr val="bg1"/>
                  </a:solidFill>
                </a:rPr>
                <a:t>CBD</a:t>
              </a:r>
              <a:endParaRPr lang="es-EC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Elipse 34"/>
            <p:cNvSpPr/>
            <p:nvPr/>
          </p:nvSpPr>
          <p:spPr>
            <a:xfrm>
              <a:off x="10062675" y="4679376"/>
              <a:ext cx="1569691" cy="85230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s-EC" b="1" dirty="0" smtClean="0">
                  <a:solidFill>
                    <a:schemeClr val="bg1"/>
                  </a:solidFill>
                </a:rPr>
                <a:t>UNFCCD</a:t>
              </a:r>
              <a:endParaRPr lang="es-EC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Elipse 35"/>
            <p:cNvSpPr/>
            <p:nvPr/>
          </p:nvSpPr>
          <p:spPr>
            <a:xfrm>
              <a:off x="10070925" y="5713728"/>
              <a:ext cx="1569691" cy="852306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s-EC" b="1" dirty="0" smtClean="0">
                  <a:solidFill>
                    <a:schemeClr val="bg1"/>
                  </a:solidFill>
                </a:rPr>
                <a:t>UNFCCC</a:t>
              </a:r>
              <a:endParaRPr lang="es-EC" b="1" dirty="0">
                <a:solidFill>
                  <a:schemeClr val="bg1"/>
                </a:solidFill>
              </a:endParaRPr>
            </a:p>
          </p:txBody>
        </p:sp>
        <p:sp>
          <p:nvSpPr>
            <p:cNvPr id="3" name="Abrir llave 2"/>
            <p:cNvSpPr/>
            <p:nvPr/>
          </p:nvSpPr>
          <p:spPr>
            <a:xfrm>
              <a:off x="9610239" y="3573088"/>
              <a:ext cx="518209" cy="3024264"/>
            </a:xfrm>
            <a:prstGeom prst="leftBrace">
              <a:avLst/>
            </a:prstGeom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</p:grpSp>
    </p:spTree>
    <p:extLst>
      <p:ext uri="{BB962C8B-B14F-4D97-AF65-F5344CB8AC3E}">
        <p14:creationId xmlns="" xmlns:p14="http://schemas.microsoft.com/office/powerpoint/2010/main" val="20684869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4" grpId="0" animBg="1"/>
      <p:bldP spid="37" grpId="0" animBg="1"/>
      <p:bldGraphic spid="5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>
            <p:custDataLst>
              <p:tags r:id="rId1"/>
            </p:custDataLst>
          </p:nvPr>
        </p:nvSpPr>
        <p:spPr>
          <a:xfrm>
            <a:off x="1127448" y="1414164"/>
            <a:ext cx="10081120" cy="5746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s-EC" sz="3200" b="1" spc="30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  STEERING  COMMITTEE OF NBSAP</a:t>
            </a:r>
          </a:p>
        </p:txBody>
      </p:sp>
      <p:sp>
        <p:nvSpPr>
          <p:cNvPr id="15" name="Rectángulo 8"/>
          <p:cNvSpPr/>
          <p:nvPr/>
        </p:nvSpPr>
        <p:spPr bwMode="auto">
          <a:xfrm>
            <a:off x="1220018" y="2205211"/>
            <a:ext cx="9707563" cy="24479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C"/>
          </a:p>
        </p:txBody>
      </p:sp>
      <p:pic>
        <p:nvPicPr>
          <p:cNvPr id="16" name="Picture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50647" y="2460420"/>
            <a:ext cx="2491433" cy="90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43872" y="2525984"/>
            <a:ext cx="2419625" cy="758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agen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92890" y="2525984"/>
            <a:ext cx="2296770" cy="758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55782" y="3620876"/>
            <a:ext cx="2332605" cy="85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Imagen 5" descr="C:\Users\dell\Desktop\Gabinete de la Revolución Ciudadana\ecuador-ministerio-finanzas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00676" y="3671411"/>
            <a:ext cx="2080998" cy="758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Imagen 6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93067" y="3671411"/>
            <a:ext cx="1898605" cy="758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21 Forma libre"/>
          <p:cNvSpPr/>
          <p:nvPr/>
        </p:nvSpPr>
        <p:spPr>
          <a:xfrm>
            <a:off x="3233740" y="2844403"/>
            <a:ext cx="294085" cy="289322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EB7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34" name="22 Forma libre"/>
          <p:cNvSpPr/>
          <p:nvPr/>
        </p:nvSpPr>
        <p:spPr>
          <a:xfrm rot="1125467">
            <a:off x="3668316" y="2489597"/>
            <a:ext cx="270272" cy="266700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35" name="23 Forma libre"/>
          <p:cNvSpPr/>
          <p:nvPr/>
        </p:nvSpPr>
        <p:spPr>
          <a:xfrm rot="2851211">
            <a:off x="4126113" y="2421137"/>
            <a:ext cx="189309" cy="178594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36" name="24 Forma libre"/>
          <p:cNvSpPr/>
          <p:nvPr/>
        </p:nvSpPr>
        <p:spPr>
          <a:xfrm rot="4975140">
            <a:off x="4494611" y="2470547"/>
            <a:ext cx="161925" cy="152400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FFFF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39" name="25 Forma libre"/>
          <p:cNvSpPr/>
          <p:nvPr/>
        </p:nvSpPr>
        <p:spPr>
          <a:xfrm rot="6877461">
            <a:off x="4776790" y="2657476"/>
            <a:ext cx="116681" cy="109538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CCFF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42" name="26 Forma libre"/>
          <p:cNvSpPr/>
          <p:nvPr/>
        </p:nvSpPr>
        <p:spPr>
          <a:xfrm rot="6519022">
            <a:off x="5506046" y="3248621"/>
            <a:ext cx="182166" cy="157163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CC00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43" name="27 Forma libre"/>
          <p:cNvSpPr/>
          <p:nvPr/>
        </p:nvSpPr>
        <p:spPr>
          <a:xfrm rot="4952218">
            <a:off x="5754888" y="3531989"/>
            <a:ext cx="211931" cy="182166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99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44" name="28 Forma libre"/>
          <p:cNvSpPr/>
          <p:nvPr/>
        </p:nvSpPr>
        <p:spPr>
          <a:xfrm rot="4045249">
            <a:off x="6165059" y="3644505"/>
            <a:ext cx="260747" cy="225028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99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45" name="29 Forma libre"/>
          <p:cNvSpPr/>
          <p:nvPr/>
        </p:nvSpPr>
        <p:spPr>
          <a:xfrm rot="2298474">
            <a:off x="6685362" y="3574259"/>
            <a:ext cx="348853" cy="298847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3F03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sp>
        <p:nvSpPr>
          <p:cNvPr id="46" name="30 Forma libre"/>
          <p:cNvSpPr/>
          <p:nvPr/>
        </p:nvSpPr>
        <p:spPr>
          <a:xfrm rot="1105031">
            <a:off x="7141371" y="3215879"/>
            <a:ext cx="451247" cy="385763"/>
          </a:xfrm>
          <a:custGeom>
            <a:avLst/>
            <a:gdLst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62963 w 611109"/>
              <a:gd name="connsiteY7" fmla="*/ 54773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25925 w 611109"/>
              <a:gd name="connsiteY6" fmla="*/ 570368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  <a:gd name="connsiteX0" fmla="*/ 0 w 611109"/>
              <a:gd name="connsiteY0" fmla="*/ 520574 h 602055"/>
              <a:gd name="connsiteX1" fmla="*/ 40741 w 611109"/>
              <a:gd name="connsiteY1" fmla="*/ 0 h 602055"/>
              <a:gd name="connsiteX2" fmla="*/ 303291 w 611109"/>
              <a:gd name="connsiteY2" fmla="*/ 31687 h 602055"/>
              <a:gd name="connsiteX3" fmla="*/ 511521 w 611109"/>
              <a:gd name="connsiteY3" fmla="*/ 76954 h 602055"/>
              <a:gd name="connsiteX4" fmla="*/ 611109 w 611109"/>
              <a:gd name="connsiteY4" fmla="*/ 108641 h 602055"/>
              <a:gd name="connsiteX5" fmla="*/ 457200 w 611109"/>
              <a:gd name="connsiteY5" fmla="*/ 602055 h 602055"/>
              <a:gd name="connsiteX6" fmla="*/ 353085 w 611109"/>
              <a:gd name="connsiteY6" fmla="*/ 574894 h 602055"/>
              <a:gd name="connsiteX7" fmla="*/ 176543 w 611109"/>
              <a:gd name="connsiteY7" fmla="*/ 534154 h 602055"/>
              <a:gd name="connsiteX8" fmla="*/ 0 w 611109"/>
              <a:gd name="connsiteY8" fmla="*/ 520574 h 602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109" h="602055">
                <a:moveTo>
                  <a:pt x="0" y="520574"/>
                </a:moveTo>
                <a:lnTo>
                  <a:pt x="40741" y="0"/>
                </a:lnTo>
                <a:lnTo>
                  <a:pt x="303291" y="31687"/>
                </a:lnTo>
                <a:lnTo>
                  <a:pt x="511521" y="76954"/>
                </a:lnTo>
                <a:lnTo>
                  <a:pt x="611109" y="108641"/>
                </a:lnTo>
                <a:lnTo>
                  <a:pt x="457200" y="602055"/>
                </a:lnTo>
                <a:lnTo>
                  <a:pt x="353085" y="574894"/>
                </a:lnTo>
                <a:cubicBezTo>
                  <a:pt x="303291" y="562823"/>
                  <a:pt x="271604" y="555279"/>
                  <a:pt x="176543" y="534154"/>
                </a:cubicBezTo>
                <a:lnTo>
                  <a:pt x="0" y="520574"/>
                </a:lnTo>
                <a:close/>
              </a:path>
            </a:pathLst>
          </a:custGeom>
          <a:solidFill>
            <a:srgbClr val="1507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C" sz="1350"/>
          </a:p>
        </p:txBody>
      </p: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" cstate="print"/>
          <a:srcRect r="13232"/>
          <a:stretch>
            <a:fillRect/>
          </a:stretch>
        </p:blipFill>
        <p:spPr bwMode="auto">
          <a:xfrm>
            <a:off x="7408070" y="1579345"/>
            <a:ext cx="1560910" cy="161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27825" y="4099390"/>
            <a:ext cx="4346897" cy="995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Imagen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078" y="4006874"/>
            <a:ext cx="1065057" cy="1153812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2626672" y="1583794"/>
            <a:ext cx="310928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500" b="1" dirty="0" err="1" smtClean="0"/>
              <a:t>Thank</a:t>
            </a:r>
            <a:r>
              <a:rPr lang="es-EC" sz="2500" b="1" dirty="0" smtClean="0"/>
              <a:t> </a:t>
            </a:r>
            <a:r>
              <a:rPr lang="es-EC" sz="2500" b="1" dirty="0" err="1" smtClean="0"/>
              <a:t>you</a:t>
            </a:r>
            <a:r>
              <a:rPr lang="es-EC" sz="2500" b="1" dirty="0" smtClean="0"/>
              <a:t>…</a:t>
            </a:r>
            <a:endParaRPr lang="es-EC" sz="2500" b="1" dirty="0"/>
          </a:p>
        </p:txBody>
      </p:sp>
    </p:spTree>
    <p:extLst>
      <p:ext uri="{BB962C8B-B14F-4D97-AF65-F5344CB8AC3E}">
        <p14:creationId xmlns="" xmlns:p14="http://schemas.microsoft.com/office/powerpoint/2010/main" val="377296389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 advClick="0" advTm="0">
        <p:fade/>
      </p:transition>
    </mc:Choice>
    <mc:Fallback>
      <p:transition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100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"/>
                            </p:stCondLst>
                            <p:childTnLst>
                              <p:par>
                                <p:cTn id="1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100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100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100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100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"/>
                            </p:stCondLst>
                            <p:childTnLst>
                              <p:par>
                                <p:cTn id="1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100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100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100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100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"/>
                            </p:stCondLst>
                            <p:childTnLst>
                              <p:par>
                                <p:cTn id="23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100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100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100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100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"/>
                            </p:stCondLst>
                            <p:childTnLst>
                              <p:par>
                                <p:cTn id="29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100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100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100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100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100" autoRev="1" fill="remove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100" autoRev="1" fill="remove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100" autoRev="1" fill="remove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100" autoRev="1" fill="remove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00"/>
                            </p:stCondLst>
                            <p:childTnLst>
                              <p:par>
                                <p:cTn id="4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100" autoRev="1" fill="remove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3" dur="100" autoRev="1" fill="remove"/>
                                        <p:tgtEl>
                                          <p:spTgt spid="4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4" dur="100" autoRev="1" fill="remove"/>
                                        <p:tgtEl>
                                          <p:spTgt spid="4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100" autoRev="1" fill="remove"/>
                                        <p:tgtEl>
                                          <p:spTgt spid="4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400"/>
                            </p:stCondLst>
                            <p:childTnLst>
                              <p:par>
                                <p:cTn id="4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10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9" dur="10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0" dur="10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1" dur="100" autoRev="1" fill="remove"/>
                                        <p:tgtEl>
                                          <p:spTgt spid="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600"/>
                            </p:stCondLst>
                            <p:childTnLst>
                              <p:par>
                                <p:cTn id="53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4" dur="10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5" dur="10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6" dur="10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7" dur="10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800"/>
                            </p:stCondLst>
                            <p:childTnLst>
                              <p:par>
                                <p:cTn id="59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0" dur="10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61" dur="10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2" dur="10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10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000"/>
                            </p:stCondLst>
                            <p:childTnLst>
                              <p:par>
                                <p:cTn id="6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6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39" grpId="0" animBg="1"/>
      <p:bldP spid="42" grpId="0" animBg="1"/>
      <p:bldP spid="43" grpId="0" animBg="1"/>
      <p:bldP spid="44" grpId="0" animBg="1"/>
      <p:bldP spid="45" grpId="0" animBg="1"/>
      <p:bldP spid="4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135560" y="1412776"/>
            <a:ext cx="7488832" cy="2160240"/>
          </a:xfrm>
        </p:spPr>
        <p:txBody>
          <a:bodyPr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marL="0" indent="0" algn="ctr">
              <a:buNone/>
            </a:pPr>
            <a:r>
              <a:rPr lang="en-US" sz="4500" b="1" dirty="0" smtClean="0">
                <a:ln w="11430"/>
                <a:solidFill>
                  <a:srgbClr val="339933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Mainstreaming </a:t>
            </a:r>
            <a:r>
              <a:rPr lang="en-US" sz="4500" b="1" dirty="0">
                <a:ln w="11430"/>
                <a:solidFill>
                  <a:srgbClr val="339933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iodiversity into public policy design and management in </a:t>
            </a:r>
            <a:r>
              <a:rPr lang="en-US" sz="4500" b="1" dirty="0" smtClean="0">
                <a:ln w="11430"/>
                <a:solidFill>
                  <a:srgbClr val="339933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Ecuador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5663952" y="4581128"/>
            <a:ext cx="6444716" cy="2237788"/>
            <a:chOff x="5663952" y="4581128"/>
            <a:chExt cx="6444716" cy="2237788"/>
          </a:xfrm>
        </p:grpSpPr>
        <p:sp>
          <p:nvSpPr>
            <p:cNvPr id="2" name="Rectángulo 1"/>
            <p:cNvSpPr/>
            <p:nvPr/>
          </p:nvSpPr>
          <p:spPr>
            <a:xfrm>
              <a:off x="5663952" y="4581128"/>
              <a:ext cx="6444716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Sofia </a:t>
              </a:r>
              <a:r>
                <a:rPr lang="en-US" sz="2000" b="1" dirty="0" err="1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Panchi</a:t>
              </a:r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 Robles</a:t>
              </a:r>
              <a:endParaRPr lang="en-US" sz="2000" b="1" dirty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  <a:p>
              <a:pPr algn="r"/>
              <a:r>
                <a:rPr lang="es-EC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			Head of International </a:t>
              </a:r>
              <a:r>
                <a:rPr lang="es-EC" sz="2000" b="1" dirty="0" err="1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Affairs</a:t>
              </a:r>
              <a:endParaRPr lang="es-EC" sz="2000" b="1" dirty="0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  <a:p>
              <a:pPr algn="r"/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Ministry </a:t>
              </a:r>
              <a:r>
                <a:rPr lang="en-US" sz="2000" b="1" dirty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of </a:t>
              </a:r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Environment</a:t>
              </a:r>
            </a:p>
            <a:p>
              <a:pPr algn="r"/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16 October 2014</a:t>
              </a:r>
              <a:endParaRPr lang="en-US" sz="2000" b="1" dirty="0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  <a:p>
              <a:pPr algn="r"/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CBD CoP-12</a:t>
              </a:r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, </a:t>
              </a:r>
              <a:r>
                <a:rPr lang="en-US" sz="2000" b="1" dirty="0" err="1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Pyeongchang</a:t>
              </a:r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, </a:t>
              </a:r>
              <a:r>
                <a:rPr lang="en-US" sz="2000" b="1" dirty="0" smtClean="0">
                  <a:ln w="11430"/>
                  <a:solidFill>
                    <a:srgbClr val="006600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Republic of Korea</a:t>
              </a:r>
              <a:endParaRPr lang="es-EC" sz="2000" b="1" dirty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pic>
          <p:nvPicPr>
            <p:cNvPr id="7" name="Picture 2" descr="Rio Conventions Pavilion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04512" y="6283134"/>
              <a:ext cx="1248646" cy="53578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4000">
        <p14:glitter pattern="hexagon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 idx="1"/>
          </p:nvPr>
        </p:nvSpPr>
        <p:spPr>
          <a:xfrm>
            <a:off x="1588604" y="1417638"/>
            <a:ext cx="9014792" cy="4525963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s-EC" dirty="0" smtClean="0"/>
              <a:t>Biodiversity in </a:t>
            </a:r>
            <a:r>
              <a:rPr lang="es-EC" dirty="0" err="1" smtClean="0"/>
              <a:t>the</a:t>
            </a:r>
            <a:r>
              <a:rPr lang="es-EC" dirty="0" smtClean="0"/>
              <a:t> </a:t>
            </a:r>
            <a:r>
              <a:rPr lang="es-EC" dirty="0" err="1" smtClean="0"/>
              <a:t>N</a:t>
            </a:r>
            <a:r>
              <a:rPr lang="es-EC" dirty="0" err="1" smtClean="0"/>
              <a:t>ational</a:t>
            </a:r>
            <a:r>
              <a:rPr lang="es-EC" dirty="0" smtClean="0"/>
              <a:t> </a:t>
            </a:r>
            <a:r>
              <a:rPr lang="es-EC" dirty="0" err="1" smtClean="0"/>
              <a:t>S</a:t>
            </a:r>
            <a:r>
              <a:rPr lang="es-EC" dirty="0" err="1" smtClean="0"/>
              <a:t>tructure</a:t>
            </a:r>
            <a:r>
              <a:rPr lang="es-EC" dirty="0" smtClean="0"/>
              <a:t> </a:t>
            </a:r>
            <a:r>
              <a:rPr lang="es-EC" dirty="0" smtClean="0"/>
              <a:t>of Ecuador</a:t>
            </a:r>
          </a:p>
          <a:p>
            <a:pPr marL="514350" indent="-514350">
              <a:buFont typeface="+mj-lt"/>
              <a:buAutoNum type="arabicPeriod"/>
            </a:pPr>
            <a:r>
              <a:rPr lang="es-EC" dirty="0" err="1" smtClean="0"/>
              <a:t>Mainstreaming</a:t>
            </a:r>
            <a:r>
              <a:rPr lang="es-EC" dirty="0" smtClean="0"/>
              <a:t> </a:t>
            </a:r>
            <a:r>
              <a:rPr lang="es-EC" dirty="0" err="1" smtClean="0"/>
              <a:t>biodiversity</a:t>
            </a:r>
            <a:r>
              <a:rPr lang="es-EC" dirty="0" smtClean="0"/>
              <a:t> </a:t>
            </a:r>
            <a:r>
              <a:rPr lang="es-EC" dirty="0" err="1" smtClean="0"/>
              <a:t>into</a:t>
            </a:r>
            <a:r>
              <a:rPr lang="es-EC" dirty="0" smtClean="0"/>
              <a:t> </a:t>
            </a:r>
            <a:r>
              <a:rPr lang="es-EC" dirty="0" err="1" smtClean="0"/>
              <a:t>the</a:t>
            </a:r>
            <a:r>
              <a:rPr lang="es-EC" dirty="0" smtClean="0"/>
              <a:t> </a:t>
            </a:r>
            <a:r>
              <a:rPr lang="es-EC" dirty="0" err="1" smtClean="0"/>
              <a:t>National</a:t>
            </a:r>
            <a:r>
              <a:rPr lang="es-EC" dirty="0" smtClean="0"/>
              <a:t> Plan </a:t>
            </a:r>
            <a:r>
              <a:rPr lang="es-EC" dirty="0" err="1" smtClean="0"/>
              <a:t>for</a:t>
            </a:r>
            <a:r>
              <a:rPr lang="es-EC" dirty="0" smtClean="0"/>
              <a:t> </a:t>
            </a:r>
            <a:r>
              <a:rPr lang="es-EC" dirty="0" err="1" smtClean="0"/>
              <a:t>Well-Being</a:t>
            </a:r>
            <a:r>
              <a:rPr lang="es-EC" dirty="0" smtClean="0"/>
              <a:t> </a:t>
            </a:r>
            <a:r>
              <a:rPr lang="es-EC" dirty="0" smtClean="0"/>
              <a:t>“Buen Vivir</a:t>
            </a:r>
            <a:r>
              <a:rPr lang="es-EC" dirty="0" smtClean="0"/>
              <a:t>” </a:t>
            </a:r>
            <a:endParaRPr lang="es-EC" dirty="0" smtClean="0"/>
          </a:p>
          <a:p>
            <a:pPr marL="514350" indent="-514350">
              <a:buFont typeface="+mj-lt"/>
              <a:buAutoNum type="arabicPeriod"/>
            </a:pPr>
            <a:r>
              <a:rPr lang="es-EC" dirty="0" err="1" smtClean="0"/>
              <a:t>National</a:t>
            </a:r>
            <a:r>
              <a:rPr lang="es-EC" dirty="0" smtClean="0"/>
              <a:t> </a:t>
            </a:r>
            <a:r>
              <a:rPr lang="es-EC" dirty="0" err="1" smtClean="0"/>
              <a:t>initiatives</a:t>
            </a:r>
            <a:r>
              <a:rPr lang="es-EC" dirty="0" smtClean="0"/>
              <a:t> </a:t>
            </a:r>
            <a:r>
              <a:rPr lang="es-EC" dirty="0" err="1" smtClean="0"/>
              <a:t>oriented</a:t>
            </a:r>
            <a:r>
              <a:rPr lang="es-EC" dirty="0" smtClean="0"/>
              <a:t> to </a:t>
            </a:r>
            <a:r>
              <a:rPr lang="es-EC" dirty="0" err="1" smtClean="0"/>
              <a:t>integrate</a:t>
            </a:r>
            <a:r>
              <a:rPr lang="es-EC" dirty="0" smtClean="0"/>
              <a:t> </a:t>
            </a:r>
            <a:r>
              <a:rPr lang="es-EC" dirty="0" err="1" smtClean="0"/>
              <a:t>biodiversity</a:t>
            </a:r>
            <a:r>
              <a:rPr lang="es-EC" dirty="0" smtClean="0"/>
              <a:t> </a:t>
            </a:r>
            <a:r>
              <a:rPr lang="es-EC" dirty="0" err="1" smtClean="0"/>
              <a:t>into</a:t>
            </a:r>
            <a:r>
              <a:rPr lang="es-EC" dirty="0" smtClean="0"/>
              <a:t> </a:t>
            </a:r>
            <a:r>
              <a:rPr lang="es-EC" dirty="0" err="1" smtClean="0"/>
              <a:t>public</a:t>
            </a:r>
            <a:r>
              <a:rPr lang="es-EC" dirty="0" smtClean="0"/>
              <a:t> </a:t>
            </a:r>
            <a:r>
              <a:rPr lang="es-EC" dirty="0" err="1" smtClean="0"/>
              <a:t>policy</a:t>
            </a:r>
            <a:r>
              <a:rPr lang="es-EC" dirty="0" smtClean="0"/>
              <a:t>. </a:t>
            </a:r>
            <a:endParaRPr lang="es-EC" dirty="0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CONTENTS</a:t>
            </a:r>
            <a:endParaRPr lang="es-EC" dirty="0"/>
          </a:p>
        </p:txBody>
      </p:sp>
    </p:spTree>
    <p:extLst>
      <p:ext uri="{BB962C8B-B14F-4D97-AF65-F5344CB8AC3E}">
        <p14:creationId xmlns="" xmlns:p14="http://schemas.microsoft.com/office/powerpoint/2010/main" val="33761492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36234" y="2140199"/>
            <a:ext cx="632969" cy="3512976"/>
          </a:xfrm>
          <a:prstGeom prst="rect">
            <a:avLst/>
          </a:prstGeom>
        </p:spPr>
      </p:pic>
      <p:sp>
        <p:nvSpPr>
          <p:cNvPr id="16" name="2 Marcador de contenido"/>
          <p:cNvSpPr txBox="1">
            <a:spLocks/>
          </p:cNvSpPr>
          <p:nvPr/>
        </p:nvSpPr>
        <p:spPr bwMode="auto">
          <a:xfrm>
            <a:off x="695400" y="260648"/>
            <a:ext cx="9721080" cy="103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marL="342900" indent="-342900" algn="l" rtl="0" eaLnBrk="1" fontAlgn="base" hangingPunct="1">
              <a:spcBef>
                <a:spcPts val="8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3200" kern="1200">
                <a:solidFill>
                  <a:srgbClr val="000000"/>
                </a:solidFill>
                <a:latin typeface="Calibri"/>
              </a:defRPr>
            </a:lvl1pPr>
            <a:lvl2pPr marL="742950" lvl="1" indent="-285750" algn="l" rtl="0" eaLnBrk="1" fontAlgn="base" hangingPunct="1">
              <a:spcBef>
                <a:spcPts val="7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800" kern="1200">
                <a:solidFill>
                  <a:srgbClr val="000000"/>
                </a:solidFill>
                <a:latin typeface="Calibri"/>
              </a:defRPr>
            </a:lvl2pPr>
            <a:lvl3pPr marL="1143000" lvl="2" indent="-228600" algn="l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2400" kern="1200">
                <a:solidFill>
                  <a:srgbClr val="000000"/>
                </a:solidFill>
                <a:latin typeface="Calibri"/>
              </a:defRPr>
            </a:lvl3pPr>
            <a:lvl4pPr marL="1600200" lvl="3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000" kern="1200">
                <a:solidFill>
                  <a:srgbClr val="000000"/>
                </a:solidFill>
                <a:latin typeface="Calibri"/>
              </a:defRPr>
            </a:lvl4pPr>
            <a:lvl5pPr marL="2057400" lvl="4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5pPr>
            <a:lvl6pPr marL="25146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6pPr>
            <a:lvl7pPr marL="29718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7pPr>
            <a:lvl8pPr marL="34290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8pPr>
            <a:lvl9pPr marL="38862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9pPr>
          </a:lstStyle>
          <a:p>
            <a:pPr marL="0" indent="0" algn="ctr">
              <a:buNone/>
            </a:pP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iodiversity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N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ructur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f Ecuador</a:t>
            </a:r>
            <a:endParaRPr lang="es-EC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559496" y="1918799"/>
            <a:ext cx="1152128" cy="3960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grpSp>
        <p:nvGrpSpPr>
          <p:cNvPr id="24" name="23 Grupo"/>
          <p:cNvGrpSpPr/>
          <p:nvPr/>
        </p:nvGrpSpPr>
        <p:grpSpPr>
          <a:xfrm>
            <a:off x="2873698" y="1628800"/>
            <a:ext cx="6046427" cy="2267887"/>
            <a:chOff x="2873698" y="1628800"/>
            <a:chExt cx="6046427" cy="2267887"/>
          </a:xfrm>
        </p:grpSpPr>
        <p:pic>
          <p:nvPicPr>
            <p:cNvPr id="2" name="Imagen 1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873698" y="1772816"/>
              <a:ext cx="6046427" cy="2123871"/>
            </a:xfrm>
            <a:prstGeom prst="rect">
              <a:avLst/>
            </a:prstGeom>
          </p:spPr>
        </p:pic>
        <p:sp>
          <p:nvSpPr>
            <p:cNvPr id="12" name="Rounded Rectangle 16"/>
            <p:cNvSpPr/>
            <p:nvPr/>
          </p:nvSpPr>
          <p:spPr>
            <a:xfrm>
              <a:off x="4295800" y="1628800"/>
              <a:ext cx="3096344" cy="576064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2000" b="1" dirty="0">
                  <a:solidFill>
                    <a:schemeClr val="bg1"/>
                  </a:solidFill>
                </a:rPr>
                <a:t>Constitution of the Republic of Ecuador</a:t>
              </a:r>
            </a:p>
          </p:txBody>
        </p:sp>
        <p:sp>
          <p:nvSpPr>
            <p:cNvPr id="13" name="Rounded Rectangle 18"/>
            <p:cNvSpPr/>
            <p:nvPr/>
          </p:nvSpPr>
          <p:spPr>
            <a:xfrm>
              <a:off x="3359696" y="2420888"/>
              <a:ext cx="4752528" cy="432049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National Plan for Well-Being (PNBV)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2013-2017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ounded Rectangle 21"/>
            <p:cNvSpPr/>
            <p:nvPr/>
          </p:nvSpPr>
          <p:spPr bwMode="auto">
            <a:xfrm>
              <a:off x="2927648" y="3068961"/>
              <a:ext cx="5904656" cy="648071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>
                  <a:solidFill>
                    <a:schemeClr val="bg1"/>
                  </a:solidFill>
                </a:rPr>
                <a:t>Strategy for Transforming the Production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Matrix</a:t>
              </a:r>
              <a:r>
                <a:rPr lang="en-GB" sz="1600" b="1" dirty="0">
                  <a:solidFill>
                    <a:schemeClr val="bg1"/>
                  </a:solidFill>
                </a:rPr>
                <a:t>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/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Strategy for Poverty Eradication</a:t>
              </a: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2909264" y="3940119"/>
            <a:ext cx="5975294" cy="1793137"/>
            <a:chOff x="2909264" y="3940119"/>
            <a:chExt cx="5975294" cy="1793137"/>
          </a:xfrm>
        </p:grpSpPr>
        <p:pic>
          <p:nvPicPr>
            <p:cNvPr id="6" name="Imagen 5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909264" y="3940119"/>
              <a:ext cx="5975294" cy="1747875"/>
            </a:xfrm>
            <a:prstGeom prst="rect">
              <a:avLst/>
            </a:prstGeom>
          </p:spPr>
        </p:pic>
        <p:sp>
          <p:nvSpPr>
            <p:cNvPr id="19" name="Rounded Rectangle 35"/>
            <p:cNvSpPr/>
            <p:nvPr/>
          </p:nvSpPr>
          <p:spPr>
            <a:xfrm>
              <a:off x="6615554" y="4005064"/>
              <a:ext cx="2160240" cy="504056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Regional Plans 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ounded Rectangle 35"/>
            <p:cNvSpPr/>
            <p:nvPr/>
          </p:nvSpPr>
          <p:spPr>
            <a:xfrm>
              <a:off x="3187348" y="4005064"/>
              <a:ext cx="2132062" cy="504056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Inter-</a:t>
              </a:r>
              <a:r>
                <a:rPr lang="en-GB" sz="1600" b="1" dirty="0" err="1" smtClean="0">
                  <a:solidFill>
                    <a:schemeClr val="bg1"/>
                  </a:solidFill>
                </a:rPr>
                <a:t>sectorial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  coordinating Policies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ounded Rectangle 35"/>
            <p:cNvSpPr/>
            <p:nvPr/>
          </p:nvSpPr>
          <p:spPr>
            <a:xfrm>
              <a:off x="4671338" y="5301208"/>
              <a:ext cx="2448272" cy="432048"/>
            </a:xfrm>
            <a:prstGeom prst="round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smtClean="0">
                  <a:solidFill>
                    <a:schemeClr val="bg1"/>
                  </a:solidFill>
                </a:rPr>
                <a:t>Institutional</a:t>
              </a:r>
              <a:r>
                <a:rPr lang="en-GB" sz="1400" b="1" dirty="0" smtClean="0">
                  <a:solidFill>
                    <a:schemeClr val="bg1"/>
                  </a:solidFill>
                </a:rPr>
                <a:t>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Planning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ounded Rectangle 35"/>
            <p:cNvSpPr/>
            <p:nvPr/>
          </p:nvSpPr>
          <p:spPr>
            <a:xfrm>
              <a:off x="4743346" y="4653136"/>
              <a:ext cx="2376264" cy="396000"/>
            </a:xfrm>
            <a:prstGeom prst="round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err="1" smtClean="0">
                  <a:solidFill>
                    <a:schemeClr val="bg1"/>
                  </a:solidFill>
                </a:rPr>
                <a:t>Sectorial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 Policies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upo 52"/>
          <p:cNvGrpSpPr/>
          <p:nvPr/>
        </p:nvGrpSpPr>
        <p:grpSpPr>
          <a:xfrm>
            <a:off x="10200456" y="1340768"/>
            <a:ext cx="1041872" cy="4668048"/>
            <a:chOff x="10860505" y="905924"/>
            <a:chExt cx="866274" cy="5352321"/>
          </a:xfrm>
          <a:solidFill>
            <a:srgbClr val="00B050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6" name="Flecha abajo 53"/>
            <p:cNvSpPr/>
            <p:nvPr/>
          </p:nvSpPr>
          <p:spPr>
            <a:xfrm>
              <a:off x="10860505" y="905924"/>
              <a:ext cx="866274" cy="5352321"/>
            </a:xfrm>
            <a:prstGeom prst="downArrow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/>
            </a:p>
          </p:txBody>
        </p:sp>
        <p:sp>
          <p:nvSpPr>
            <p:cNvPr id="33" name="CuadroTexto 54"/>
            <p:cNvSpPr txBox="1"/>
            <p:nvPr/>
          </p:nvSpPr>
          <p:spPr>
            <a:xfrm rot="16200000">
              <a:off x="9449508" y="3136495"/>
              <a:ext cx="3637929" cy="332675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2000" b="1" dirty="0">
                  <a:solidFill>
                    <a:schemeClr val="bg1"/>
                  </a:solidFill>
                  <a:latin typeface="+mn-lt"/>
                  <a:cs typeface="+mn-cs"/>
                </a:rPr>
                <a:t>B  I  O  D  I  V  E  R  S  I  T  Y </a:t>
              </a:r>
            </a:p>
          </p:txBody>
        </p:sp>
      </p:grpSp>
      <p:sp>
        <p:nvSpPr>
          <p:cNvPr id="34" name="Rounded Rectangle 35"/>
          <p:cNvSpPr/>
          <p:nvPr/>
        </p:nvSpPr>
        <p:spPr>
          <a:xfrm rot="16200000">
            <a:off x="587388" y="3392996"/>
            <a:ext cx="3384376" cy="576064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200" b="1" dirty="0" smtClean="0">
                <a:solidFill>
                  <a:schemeClr val="bg1"/>
                </a:solidFill>
              </a:rPr>
              <a:t>Equality Policies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35" name="Rounded Rectangle 35"/>
          <p:cNvSpPr/>
          <p:nvPr/>
        </p:nvSpPr>
        <p:spPr>
          <a:xfrm rot="16200000">
            <a:off x="7716180" y="3392996"/>
            <a:ext cx="3384376" cy="576064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200" b="1" dirty="0" smtClean="0">
                <a:solidFill>
                  <a:schemeClr val="bg1"/>
                </a:solidFill>
              </a:rPr>
              <a:t>Development and local zoning Plans</a:t>
            </a:r>
            <a:endParaRPr lang="en-GB" sz="2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674179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983432" y="2830210"/>
            <a:ext cx="49685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titution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ublic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ghts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s-EC" sz="3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ure</a:t>
            </a:r>
            <a:endParaRPr lang="es-EC" sz="30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s-EC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t. 71 and 72</a:t>
            </a:r>
            <a:endParaRPr lang="es-EC" sz="3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61" name="Grupo 60"/>
          <p:cNvGrpSpPr/>
          <p:nvPr/>
        </p:nvGrpSpPr>
        <p:grpSpPr>
          <a:xfrm>
            <a:off x="3215680" y="322371"/>
            <a:ext cx="6500858" cy="6535629"/>
            <a:chOff x="1403648" y="158449"/>
            <a:chExt cx="6500858" cy="6535629"/>
          </a:xfrm>
        </p:grpSpPr>
        <p:pic>
          <p:nvPicPr>
            <p:cNvPr id="31" name="Imagen 30" descr="CUADRO-PRIORIDAD2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11151"/>
            <a:stretch/>
          </p:blipFill>
          <p:spPr>
            <a:xfrm>
              <a:off x="1403648" y="158449"/>
              <a:ext cx="6500858" cy="6535629"/>
            </a:xfrm>
            <a:prstGeom prst="rect">
              <a:avLst/>
            </a:prstGeom>
          </p:spPr>
        </p:pic>
        <p:sp>
          <p:nvSpPr>
            <p:cNvPr id="34" name="Rectángulo 33"/>
            <p:cNvSpPr/>
            <p:nvPr/>
          </p:nvSpPr>
          <p:spPr>
            <a:xfrm>
              <a:off x="2482534" y="5368553"/>
              <a:ext cx="2232248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s-MX" sz="2000" b="1" dirty="0" smtClean="0">
                  <a:solidFill>
                    <a:srgbClr val="FFFFFF"/>
                  </a:solidFill>
                </a:rPr>
                <a:t>Integral </a:t>
              </a:r>
              <a:r>
                <a:rPr lang="es-MX" sz="2000" b="1" dirty="0" err="1" smtClean="0">
                  <a:solidFill>
                    <a:srgbClr val="FFFFFF"/>
                  </a:solidFill>
                </a:rPr>
                <a:t>respect</a:t>
              </a:r>
              <a:r>
                <a:rPr lang="es-MX" sz="2000" b="1" dirty="0" smtClean="0">
                  <a:solidFill>
                    <a:srgbClr val="FFFFFF"/>
                  </a:solidFill>
                </a:rPr>
                <a:t> </a:t>
              </a:r>
              <a:r>
                <a:rPr lang="es-MX" sz="2000" b="1" dirty="0" err="1" smtClean="0">
                  <a:solidFill>
                    <a:srgbClr val="FFFFFF"/>
                  </a:solidFill>
                </a:rPr>
                <a:t>to</a:t>
              </a:r>
              <a:r>
                <a:rPr lang="es-MX" sz="2000" b="1" dirty="0" smtClean="0">
                  <a:solidFill>
                    <a:srgbClr val="FFFFFF"/>
                  </a:solidFill>
                </a:rPr>
                <a:t> </a:t>
              </a:r>
              <a:r>
                <a:rPr lang="es-MX" sz="2000" b="1" dirty="0" err="1" smtClean="0">
                  <a:solidFill>
                    <a:srgbClr val="FFFFFF"/>
                  </a:solidFill>
                </a:rPr>
                <a:t>its</a:t>
              </a:r>
              <a:r>
                <a:rPr lang="es-MX" sz="2000" b="1" dirty="0" smtClean="0">
                  <a:solidFill>
                    <a:srgbClr val="FFFFFF"/>
                  </a:solidFill>
                </a:rPr>
                <a:t> </a:t>
              </a:r>
              <a:r>
                <a:rPr lang="es-MX" sz="2000" b="1" dirty="0" err="1" smtClean="0">
                  <a:solidFill>
                    <a:srgbClr val="FFFFFF"/>
                  </a:solidFill>
                </a:rPr>
                <a:t>existence</a:t>
              </a:r>
              <a:endParaRPr lang="es-MX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35" name="Rectángulo 34"/>
            <p:cNvSpPr/>
            <p:nvPr/>
          </p:nvSpPr>
          <p:spPr>
            <a:xfrm>
              <a:off x="5592529" y="1659082"/>
              <a:ext cx="166632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s-MX" sz="2000" b="1" dirty="0" err="1" smtClean="0">
                  <a:solidFill>
                    <a:srgbClr val="FFFFFF"/>
                  </a:solidFill>
                </a:rPr>
                <a:t>Restoration</a:t>
              </a:r>
              <a:endParaRPr lang="es-MX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Rectángulo 35"/>
            <p:cNvSpPr/>
            <p:nvPr/>
          </p:nvSpPr>
          <p:spPr>
            <a:xfrm>
              <a:off x="4139952" y="2689014"/>
              <a:ext cx="2376264" cy="2031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US" dirty="0" smtClean="0"/>
            </a:p>
            <a:p>
              <a:r>
                <a:rPr lang="en-US" b="1" dirty="0" smtClean="0">
                  <a:solidFill>
                    <a:schemeClr val="bg1"/>
                  </a:solidFill>
                </a:rPr>
                <a:t>Maintenance and regeneration of its vital cycles, structure, functions and evolutionary processes</a:t>
              </a:r>
              <a:r>
                <a:rPr lang="es-EC" b="1" dirty="0" smtClean="0">
                  <a:solidFill>
                    <a:srgbClr val="FFFFFF"/>
                  </a:solidFill>
                </a:rPr>
                <a:t>.</a:t>
              </a:r>
              <a:endParaRPr lang="es-EC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2 Marcador de contenido"/>
          <p:cNvSpPr txBox="1">
            <a:spLocks/>
          </p:cNvSpPr>
          <p:nvPr/>
        </p:nvSpPr>
        <p:spPr bwMode="auto">
          <a:xfrm>
            <a:off x="695400" y="260648"/>
            <a:ext cx="9721080" cy="103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marL="342900" indent="-342900" algn="l" rtl="0" eaLnBrk="1" fontAlgn="base" hangingPunct="1">
              <a:spcBef>
                <a:spcPts val="8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3200" kern="1200">
                <a:solidFill>
                  <a:srgbClr val="000000"/>
                </a:solidFill>
                <a:latin typeface="Calibri"/>
              </a:defRPr>
            </a:lvl1pPr>
            <a:lvl2pPr marL="742950" lvl="1" indent="-285750" algn="l" rtl="0" eaLnBrk="1" fontAlgn="base" hangingPunct="1">
              <a:spcBef>
                <a:spcPts val="7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800" kern="1200">
                <a:solidFill>
                  <a:srgbClr val="000000"/>
                </a:solidFill>
                <a:latin typeface="Calibri"/>
              </a:defRPr>
            </a:lvl2pPr>
            <a:lvl3pPr marL="1143000" lvl="2" indent="-228600" algn="l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2400" kern="1200">
                <a:solidFill>
                  <a:srgbClr val="000000"/>
                </a:solidFill>
                <a:latin typeface="Calibri"/>
              </a:defRPr>
            </a:lvl3pPr>
            <a:lvl4pPr marL="1600200" lvl="3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000" kern="1200">
                <a:solidFill>
                  <a:srgbClr val="000000"/>
                </a:solidFill>
                <a:latin typeface="Calibri"/>
              </a:defRPr>
            </a:lvl4pPr>
            <a:lvl5pPr marL="2057400" lvl="4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5pPr>
            <a:lvl6pPr marL="25146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6pPr>
            <a:lvl7pPr marL="29718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7pPr>
            <a:lvl8pPr marL="34290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8pPr>
            <a:lvl9pPr marL="38862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9pPr>
          </a:lstStyle>
          <a:p>
            <a:pPr marL="0" indent="0" algn="ctr">
              <a:buNone/>
            </a:pP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iodiversity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N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ructur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f Ecuador</a:t>
            </a:r>
            <a:endParaRPr lang="es-EC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5586400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>
            <p:extLst>
              <p:ext uri="{D42A27DB-BD31-4B8C-83A1-F6EECF244321}">
                <p14:modId xmlns="" xmlns:p14="http://schemas.microsoft.com/office/powerpoint/2010/main" val="322935778"/>
              </p:ext>
            </p:extLst>
          </p:nvPr>
        </p:nvGraphicFramePr>
        <p:xfrm>
          <a:off x="1703512" y="1196752"/>
          <a:ext cx="8232576" cy="512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21 Rectángulo"/>
          <p:cNvSpPr/>
          <p:nvPr>
            <p:custDataLst>
              <p:tags r:id="rId1"/>
            </p:custDataLst>
          </p:nvPr>
        </p:nvSpPr>
        <p:spPr>
          <a:xfrm>
            <a:off x="2495600" y="188640"/>
            <a:ext cx="6768752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3500" b="1" dirty="0" err="1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in </a:t>
            </a:r>
            <a:r>
              <a:rPr lang="es-EC" sz="3500" b="1" dirty="0" err="1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he</a:t>
            </a:r>
            <a:r>
              <a:rPr lang="es-EC" sz="3500" b="1" dirty="0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0066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Constitution</a:t>
            </a:r>
            <a:endParaRPr lang="en-US" sz="3500" b="1" dirty="0">
              <a:ln w="11430"/>
              <a:solidFill>
                <a:srgbClr val="0066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6744072" y="4437112"/>
            <a:ext cx="38164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The State guarantees a sustainable model of development... </a:t>
            </a:r>
            <a:r>
              <a:rPr lang="en-US" b="1" dirty="0" smtClean="0"/>
              <a:t>that preserve biodiversity and natural regeneration capacity of ecosystems ...</a:t>
            </a:r>
            <a:endParaRPr lang="es-EC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4655840" y="2852937"/>
            <a:ext cx="5400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dirty="0" smtClean="0"/>
              <a:t>Strategic sectors : energy, telecommunications, non-renewable natural resources, transportation and fossil fuels refining, biodiversity and genetic resources, </a:t>
            </a:r>
            <a:r>
              <a:rPr lang="en-US" dirty="0" err="1" smtClean="0"/>
              <a:t>radioelectric</a:t>
            </a:r>
            <a:r>
              <a:rPr lang="en-US" dirty="0" smtClean="0"/>
              <a:t> spectrum , water.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3143672" y="1340768"/>
            <a:ext cx="63367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dirty="0" smtClean="0"/>
              <a:t>It is of public interest: Environmental preservation, conservation of ecosystems , biodiversity ( and all its components ... particularly agricultural and wild biodiversity) and the integrity of the genetic patrimony of the country ...</a:t>
            </a:r>
          </a:p>
        </p:txBody>
      </p:sp>
    </p:spTree>
    <p:extLst>
      <p:ext uri="{BB962C8B-B14F-4D97-AF65-F5344CB8AC3E}">
        <p14:creationId xmlns="" xmlns:p14="http://schemas.microsoft.com/office/powerpoint/2010/main" val="37676624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0EDA7A7-AEC7-4EB4-9AA0-5FBEC2E7E7E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graphicEl>
                                              <a:dgm id="{20EDA7A7-AEC7-4EB4-9AA0-5FBEC2E7E7E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66F183C-7019-4089-96FC-932235F366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>
                                            <p:graphicEl>
                                              <a:dgm id="{566F183C-7019-4089-96FC-932235F366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F2AFE8D-5D25-4F21-A3EC-E7A44EFAFB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graphicEl>
                                              <a:dgm id="{8F2AFE8D-5D25-4F21-A3EC-E7A44EFAFB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E9A2A5B3-8C7A-401E-B6A6-2D9FD324F4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graphicEl>
                                              <a:dgm id="{E9A2A5B3-8C7A-401E-B6A6-2D9FD324F42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AC47BE7-EB63-47D1-B344-2C1420ED6B1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graphicEl>
                                              <a:dgm id="{1AC47BE7-EB63-47D1-B344-2C1420ED6B1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F7A3C32-6E08-4F98-8F0F-2C176BC53BC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>
                                            <p:graphicEl>
                                              <a:dgm id="{DF7A3C32-6E08-4F98-8F0F-2C176BC53BC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9CA35AC-A933-4F3B-82ED-D072540408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graphicEl>
                                              <a:dgm id="{79CA35AC-A933-4F3B-82ED-D072540408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F9228A0-C4B4-4C28-A6CA-560D0E53F3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graphicEl>
                                              <a:dgm id="{2F9228A0-C4B4-4C28-A6CA-560D0E53F30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  <p:bldP spid="5" grpId="0"/>
      <p:bldP spid="6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3.- COHERENCIA (LIBROS 2).jpg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17492" b="90099" l="28394" r="64384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2968" t="16812" r="34063" b="6018"/>
          <a:stretch/>
        </p:blipFill>
        <p:spPr>
          <a:xfrm>
            <a:off x="2328177" y="1611144"/>
            <a:ext cx="1995884" cy="298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Imagen 4" descr="3.- COHERENCIA (LIBROS 2).jpg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17492" b="92739" l="2242" r="30511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619" t="17227" r="69524" b="5603"/>
          <a:stretch/>
        </p:blipFill>
        <p:spPr>
          <a:xfrm>
            <a:off x="529755" y="1485144"/>
            <a:ext cx="1615441" cy="324000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901415" y="1628800"/>
            <a:ext cx="2052057" cy="288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507042" y="1665144"/>
            <a:ext cx="2040558" cy="27602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336315" y="1628800"/>
            <a:ext cx="2043154" cy="2880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1" name="Diagrama 10"/>
          <p:cNvGraphicFramePr/>
          <p:nvPr>
            <p:extLst>
              <p:ext uri="{D42A27DB-BD31-4B8C-83A1-F6EECF244321}">
                <p14:modId xmlns="" xmlns:p14="http://schemas.microsoft.com/office/powerpoint/2010/main" val="3311547233"/>
              </p:ext>
            </p:extLst>
          </p:nvPr>
        </p:nvGraphicFramePr>
        <p:xfrm>
          <a:off x="119336" y="4542972"/>
          <a:ext cx="11739963" cy="1756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Rectángulo 12"/>
          <p:cNvSpPr/>
          <p:nvPr/>
        </p:nvSpPr>
        <p:spPr>
          <a:xfrm>
            <a:off x="10218010" y="4509120"/>
            <a:ext cx="2430718" cy="70249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Rectángulo 13"/>
          <p:cNvSpPr/>
          <p:nvPr/>
        </p:nvSpPr>
        <p:spPr>
          <a:xfrm>
            <a:off x="10218010" y="4509120"/>
            <a:ext cx="2178865" cy="7024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0688" tIns="170688" rIns="170688" bIns="170688" numCol="1" spcCol="1270" anchor="t" anchorCtr="0">
            <a:noAutofit/>
          </a:bodyPr>
          <a:lstStyle/>
          <a:p>
            <a:pPr lvl="0" algn="ctr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EC" sz="2400" b="1" kern="1200" dirty="0" smtClean="0"/>
              <a:t>…. 2030</a:t>
            </a:r>
            <a:endParaRPr lang="es-EC" sz="2400" b="1" kern="1200" dirty="0"/>
          </a:p>
        </p:txBody>
      </p:sp>
      <p:sp>
        <p:nvSpPr>
          <p:cNvPr id="12" name="2 Marcador de contenido"/>
          <p:cNvSpPr txBox="1">
            <a:spLocks/>
          </p:cNvSpPr>
          <p:nvPr/>
        </p:nvSpPr>
        <p:spPr bwMode="auto">
          <a:xfrm>
            <a:off x="695400" y="308341"/>
            <a:ext cx="9721080" cy="103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>
            <a:lvl1pPr marL="342900" indent="-342900" algn="l" rtl="0" eaLnBrk="1" fontAlgn="base" hangingPunct="1">
              <a:spcBef>
                <a:spcPts val="8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3200" kern="1200">
                <a:solidFill>
                  <a:srgbClr val="000000"/>
                </a:solidFill>
                <a:latin typeface="Calibri"/>
              </a:defRPr>
            </a:lvl1pPr>
            <a:lvl2pPr marL="742950" lvl="1" indent="-285750" algn="l" rtl="0" eaLnBrk="1" fontAlgn="base" hangingPunct="1">
              <a:spcBef>
                <a:spcPts val="7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800" kern="1200">
                <a:solidFill>
                  <a:srgbClr val="000000"/>
                </a:solidFill>
                <a:latin typeface="Calibri"/>
              </a:defRPr>
            </a:lvl2pPr>
            <a:lvl3pPr marL="1143000" lvl="2" indent="-228600" algn="l" rtl="0" eaLnBrk="1" fontAlgn="base" hangingPunct="1">
              <a:spcBef>
                <a:spcPts val="600"/>
              </a:spcBef>
              <a:spcAft>
                <a:spcPct val="0"/>
              </a:spcAft>
              <a:buSzPct val="100000"/>
              <a:buFont typeface="Arial" charset="0"/>
              <a:buChar char="•"/>
              <a:defRPr lang="es-ES" sz="2400" kern="1200">
                <a:solidFill>
                  <a:srgbClr val="000000"/>
                </a:solidFill>
                <a:latin typeface="Calibri"/>
              </a:defRPr>
            </a:lvl3pPr>
            <a:lvl4pPr marL="1600200" lvl="3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–"/>
              <a:defRPr lang="es-ES" sz="2000" kern="1200">
                <a:solidFill>
                  <a:srgbClr val="000000"/>
                </a:solidFill>
                <a:latin typeface="Calibri"/>
              </a:defRPr>
            </a:lvl4pPr>
            <a:lvl5pPr marL="2057400" lvl="4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5pPr>
            <a:lvl6pPr marL="25146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6pPr>
            <a:lvl7pPr marL="29718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7pPr>
            <a:lvl8pPr marL="34290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8pPr>
            <a:lvl9pPr marL="3886200" indent="-228600" algn="l" rtl="0" eaLnBrk="1" fontAlgn="base" hangingPunct="1">
              <a:spcBef>
                <a:spcPts val="500"/>
              </a:spcBef>
              <a:spcAft>
                <a:spcPct val="0"/>
              </a:spcAft>
              <a:buSzPct val="100000"/>
              <a:buFont typeface="Arial" charset="0"/>
              <a:buChar char="»"/>
              <a:defRPr lang="es-ES" sz="2000" kern="1200">
                <a:solidFill>
                  <a:srgbClr val="000000"/>
                </a:solidFill>
                <a:latin typeface="Calibri"/>
              </a:defRPr>
            </a:lvl9pPr>
          </a:lstStyle>
          <a:p>
            <a:pPr marL="0" indent="0" algn="ctr">
              <a:buNone/>
            </a:pP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iodiversity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N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ructur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f Ecuador</a:t>
            </a:r>
            <a:endParaRPr lang="es-EC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90650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5360" y="2462825"/>
            <a:ext cx="1442884" cy="1902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7 Diagrama"/>
          <p:cNvGraphicFramePr/>
          <p:nvPr>
            <p:extLst>
              <p:ext uri="{D42A27DB-BD31-4B8C-83A1-F6EECF244321}">
                <p14:modId xmlns="" xmlns:p14="http://schemas.microsoft.com/office/powerpoint/2010/main" val="1166434411"/>
              </p:ext>
            </p:extLst>
          </p:nvPr>
        </p:nvGraphicFramePr>
        <p:xfrm>
          <a:off x="1847528" y="1772816"/>
          <a:ext cx="4176464" cy="33303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21 Rectángulo"/>
          <p:cNvSpPr/>
          <p:nvPr>
            <p:custDataLst>
              <p:tags r:id="rId1"/>
            </p:custDataLst>
          </p:nvPr>
        </p:nvSpPr>
        <p:spPr>
          <a:xfrm>
            <a:off x="263352" y="332656"/>
            <a:ext cx="10416480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Pla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for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Well-Being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(PNBV)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6168008" y="1988840"/>
            <a:ext cx="1368152" cy="68400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C" b="1" dirty="0" err="1" smtClean="0"/>
              <a:t>Vision</a:t>
            </a:r>
            <a:r>
              <a:rPr lang="es-EC" b="1" dirty="0" smtClean="0"/>
              <a:t> 2030</a:t>
            </a:r>
            <a:endParaRPr lang="es-EC" b="1" dirty="0"/>
          </a:p>
        </p:txBody>
      </p:sp>
      <p:sp>
        <p:nvSpPr>
          <p:cNvPr id="7" name="CuadroTexto 6"/>
          <p:cNvSpPr txBox="1"/>
          <p:nvPr/>
        </p:nvSpPr>
        <p:spPr>
          <a:xfrm>
            <a:off x="6240017" y="3140968"/>
            <a:ext cx="1368152" cy="6840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C" b="1" dirty="0" smtClean="0"/>
              <a:t>9 Regional </a:t>
            </a:r>
            <a:r>
              <a:rPr lang="es-EC" b="1" dirty="0" err="1" smtClean="0"/>
              <a:t>Plans</a:t>
            </a:r>
            <a:endParaRPr lang="es-EC" b="1" dirty="0"/>
          </a:p>
        </p:txBody>
      </p:sp>
      <p:sp>
        <p:nvSpPr>
          <p:cNvPr id="8" name="CuadroTexto 7"/>
          <p:cNvSpPr txBox="1"/>
          <p:nvPr/>
        </p:nvSpPr>
        <p:spPr>
          <a:xfrm>
            <a:off x="6240017" y="4293096"/>
            <a:ext cx="1368152" cy="68400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C" b="1" dirty="0" smtClean="0"/>
              <a:t>Objetive 7</a:t>
            </a:r>
            <a:endParaRPr lang="es-EC" b="1" dirty="0"/>
          </a:p>
        </p:txBody>
      </p:sp>
      <p:sp>
        <p:nvSpPr>
          <p:cNvPr id="13" name="Cerrar llave 12"/>
          <p:cNvSpPr/>
          <p:nvPr/>
        </p:nvSpPr>
        <p:spPr>
          <a:xfrm>
            <a:off x="7655496" y="1796111"/>
            <a:ext cx="384720" cy="3337943"/>
          </a:xfrm>
          <a:prstGeom prst="rightBrac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4" name="CuadroTexto 13"/>
          <p:cNvSpPr txBox="1"/>
          <p:nvPr/>
        </p:nvSpPr>
        <p:spPr>
          <a:xfrm>
            <a:off x="8191456" y="2492896"/>
            <a:ext cx="395321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C" sz="2200" dirty="0" err="1" smtClean="0"/>
              <a:t>Transforming</a:t>
            </a:r>
            <a:r>
              <a:rPr lang="es-EC" sz="2200" dirty="0" smtClean="0"/>
              <a:t> </a:t>
            </a:r>
            <a:r>
              <a:rPr lang="es-EC" sz="2200" dirty="0" err="1" smtClean="0"/>
              <a:t>the</a:t>
            </a:r>
            <a:r>
              <a:rPr lang="es-EC" sz="2200" dirty="0" smtClean="0"/>
              <a:t> </a:t>
            </a:r>
            <a:r>
              <a:rPr lang="es-EC" sz="2200" dirty="0" err="1" smtClean="0"/>
              <a:t>production</a:t>
            </a:r>
            <a:r>
              <a:rPr lang="es-EC" sz="2200" dirty="0" smtClean="0"/>
              <a:t> </a:t>
            </a:r>
            <a:r>
              <a:rPr lang="es-EC" sz="2200" dirty="0" err="1" smtClean="0"/>
              <a:t>matrix</a:t>
            </a:r>
            <a:endParaRPr lang="es-EC" sz="2200" dirty="0" smtClean="0"/>
          </a:p>
          <a:p>
            <a:pPr marL="457200" indent="-457200">
              <a:buFont typeface="+mj-lt"/>
              <a:buAutoNum type="arabicPeriod"/>
            </a:pPr>
            <a:r>
              <a:rPr lang="es-EC" sz="2200" dirty="0" err="1" smtClean="0"/>
              <a:t>Poverty</a:t>
            </a:r>
            <a:r>
              <a:rPr lang="es-EC" sz="2200" dirty="0" smtClean="0"/>
              <a:t> </a:t>
            </a:r>
            <a:r>
              <a:rPr lang="es-EC" sz="2200" dirty="0" err="1" smtClean="0"/>
              <a:t>Eradication</a:t>
            </a:r>
            <a:endParaRPr lang="es-EC" sz="2200" dirty="0" smtClean="0"/>
          </a:p>
          <a:p>
            <a:pPr marL="457200" indent="-457200">
              <a:buFont typeface="+mj-lt"/>
              <a:buAutoNum type="arabicPeriod"/>
            </a:pPr>
            <a:r>
              <a:rPr lang="es-EC" sz="2200" dirty="0" smtClean="0"/>
              <a:t>Gaps </a:t>
            </a:r>
            <a:r>
              <a:rPr lang="es-EC" sz="2200" dirty="0" err="1" smtClean="0"/>
              <a:t>closing</a:t>
            </a:r>
            <a:endParaRPr lang="es-EC" sz="2200" dirty="0" smtClean="0"/>
          </a:p>
          <a:p>
            <a:pPr marL="457200" indent="-457200">
              <a:buFont typeface="+mj-lt"/>
              <a:buAutoNum type="arabicPeriod"/>
            </a:pPr>
            <a:r>
              <a:rPr lang="es-EC" sz="2200" b="1" dirty="0" err="1" smtClean="0"/>
              <a:t>Environmental</a:t>
            </a:r>
            <a:r>
              <a:rPr lang="es-EC" sz="2200" b="1" dirty="0" smtClean="0"/>
              <a:t> and Natural </a:t>
            </a:r>
            <a:r>
              <a:rPr lang="es-EC" sz="2200" b="1" dirty="0" err="1" smtClean="0"/>
              <a:t>Heritage</a:t>
            </a:r>
            <a:r>
              <a:rPr lang="es-EC" sz="2200" b="1" dirty="0" smtClean="0"/>
              <a:t> </a:t>
            </a:r>
            <a:r>
              <a:rPr lang="es-EC" sz="2200" b="1" dirty="0" err="1" smtClean="0"/>
              <a:t>sustainability</a:t>
            </a:r>
            <a:endParaRPr lang="es-EC" sz="2200" b="1" dirty="0"/>
          </a:p>
        </p:txBody>
      </p:sp>
      <p:sp>
        <p:nvSpPr>
          <p:cNvPr id="15" name="Llamada de flecha hacia arriba 14"/>
          <p:cNvSpPr/>
          <p:nvPr/>
        </p:nvSpPr>
        <p:spPr>
          <a:xfrm>
            <a:off x="8968091" y="4797152"/>
            <a:ext cx="2380455" cy="771581"/>
          </a:xfrm>
          <a:prstGeom prst="upArrowCallout">
            <a:avLst>
              <a:gd name="adj1" fmla="val 56284"/>
              <a:gd name="adj2" fmla="val 28142"/>
              <a:gd name="adj3" fmla="val 25000"/>
              <a:gd name="adj4" fmla="val 75000"/>
            </a:avLst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b="1" dirty="0"/>
              <a:t>NBSAP 2014- </a:t>
            </a:r>
            <a:r>
              <a:rPr lang="es-EC" b="1" dirty="0" smtClean="0"/>
              <a:t>2030</a:t>
            </a:r>
            <a:endParaRPr lang="es-EC" b="1" dirty="0"/>
          </a:p>
        </p:txBody>
      </p:sp>
    </p:spTree>
    <p:extLst>
      <p:ext uri="{BB962C8B-B14F-4D97-AF65-F5344CB8AC3E}">
        <p14:creationId xmlns="" xmlns:p14="http://schemas.microsoft.com/office/powerpoint/2010/main" val="805485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0E3CBE1-B78E-4000-9380-657D66724B1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graphicEl>
                                              <a:dgm id="{90E3CBE1-B78E-4000-9380-657D66724B1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3D89CFE-B0F6-4C50-B51B-81AF21E90B5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dgm id="{33D89CFE-B0F6-4C50-B51B-81AF21E90B5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E9796ED-6998-4290-89AA-92F7109067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graphicEl>
                                              <a:dgm id="{DE9796ED-6998-4290-89AA-92F7109067A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7425118-094F-4F3C-8981-B949638ECB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graphicEl>
                                              <a:dgm id="{17425118-094F-4F3C-8981-B949638ECB6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4D3A435-E35A-4E84-9780-5A55EBB486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graphicEl>
                                              <a:dgm id="{A4D3A435-E35A-4E84-9780-5A55EBB486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8D482E9-5116-41F4-92DC-C94479BC8BA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graphicEl>
                                              <a:dgm id="{08D482E9-5116-41F4-92DC-C94479BC8BA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  <p:bldP spid="4" grpId="0" animBg="1"/>
      <p:bldP spid="7" grpId="0" animBg="1"/>
      <p:bldP spid="8" grpId="0" animBg="1"/>
      <p:bldP spid="13" grpId="0" animBg="1"/>
      <p:bldP spid="14" grpId="0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lamada de flecha hacia arriba 48"/>
          <p:cNvSpPr/>
          <p:nvPr/>
        </p:nvSpPr>
        <p:spPr>
          <a:xfrm rot="16200000">
            <a:off x="9252003" y="3729381"/>
            <a:ext cx="2380455" cy="771581"/>
          </a:xfrm>
          <a:prstGeom prst="upArrowCallout">
            <a:avLst>
              <a:gd name="adj1" fmla="val 56284"/>
              <a:gd name="adj2" fmla="val 28142"/>
              <a:gd name="adj3" fmla="val 25000"/>
              <a:gd name="adj4" fmla="val 75000"/>
            </a:avLst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b="1" dirty="0" smtClean="0"/>
              <a:t>NBSAP </a:t>
            </a:r>
            <a:r>
              <a:rPr lang="es-EC" b="1" dirty="0"/>
              <a:t>2014- </a:t>
            </a:r>
            <a:r>
              <a:rPr lang="es-EC" b="1" dirty="0" smtClean="0"/>
              <a:t>2030</a:t>
            </a:r>
            <a:endParaRPr lang="es-EC" b="1" dirty="0"/>
          </a:p>
        </p:txBody>
      </p:sp>
      <p:grpSp>
        <p:nvGrpSpPr>
          <p:cNvPr id="2" name="18 Grupo"/>
          <p:cNvGrpSpPr>
            <a:grpSpLocks/>
          </p:cNvGrpSpPr>
          <p:nvPr/>
        </p:nvGrpSpPr>
        <p:grpSpPr bwMode="auto">
          <a:xfrm>
            <a:off x="2901390" y="5345385"/>
            <a:ext cx="1493837" cy="1323975"/>
            <a:chOff x="6072198" y="642299"/>
            <a:chExt cx="2500330" cy="2131058"/>
          </a:xfrm>
        </p:grpSpPr>
        <p:pic>
          <p:nvPicPr>
            <p:cNvPr id="48" name="Picture 2" descr="https://encrypted-tbn1.gstatic.com/images?q=tbn:ANd9GcSGL7GlJ0-xWJmeJqx80jz6isXz3zVCeSuKDzPaAGxb5kYZClK-8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072198" y="642299"/>
              <a:ext cx="1500198" cy="1473632"/>
            </a:xfrm>
            <a:prstGeom prst="cube">
              <a:avLst/>
            </a:prstGeom>
            <a:noFill/>
          </p:spPr>
        </p:pic>
        <p:pic>
          <p:nvPicPr>
            <p:cNvPr id="51" name="Picture 55" descr="https://encrypted-tbn3.gstatic.com/images?q=tbn:ANd9GcSxdFMvEwyRjr10ufRiHWg9l50l0hJ89g8TQ_oyNzSb6JGN26J7xw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381913" y="670103"/>
              <a:ext cx="1190615" cy="1401575"/>
            </a:xfrm>
            <a:prstGeom prst="cube">
              <a:avLst/>
            </a:prstGeom>
            <a:noFill/>
          </p:spPr>
        </p:pic>
        <p:pic>
          <p:nvPicPr>
            <p:cNvPr id="52" name="Picture 5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238891" y="2071677"/>
              <a:ext cx="690563" cy="70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" name="Picture 5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40580" y="2071678"/>
              <a:ext cx="674692" cy="70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6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853390" y="2071678"/>
              <a:ext cx="647700" cy="70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3 Grupo"/>
          <p:cNvGrpSpPr>
            <a:grpSpLocks/>
          </p:cNvGrpSpPr>
          <p:nvPr/>
        </p:nvGrpSpPr>
        <p:grpSpPr bwMode="auto">
          <a:xfrm>
            <a:off x="2950602" y="1930673"/>
            <a:ext cx="1493838" cy="1322387"/>
            <a:chOff x="200125" y="421458"/>
            <a:chExt cx="2728801" cy="2853629"/>
          </a:xfrm>
        </p:grpSpPr>
        <p:pic>
          <p:nvPicPr>
            <p:cNvPr id="56" name="Picture 13" descr="https://encrypted-tbn0.gstatic.com/images?q=tbn:ANd9GcQ328-DUvBqqoaWNmYeKlIBa1gzxZO-hRprN6zGD1dY1aFbn6wQ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85720" y="421458"/>
              <a:ext cx="1143008" cy="971357"/>
            </a:xfrm>
            <a:prstGeom prst="cube">
              <a:avLst>
                <a:gd name="adj" fmla="val 27810"/>
              </a:avLst>
            </a:prstGeom>
            <a:noFill/>
          </p:spPr>
        </p:pic>
        <p:pic>
          <p:nvPicPr>
            <p:cNvPr id="57" name="Picture 17" descr="https://encrypted-tbn1.gstatic.com/images?q=tbn:ANd9GcSoABlu2pESzbCs8hYbkDk_wLPRlvnDEvvt6xCdOL_tXKypSpRFkw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71750" y="421458"/>
              <a:ext cx="971358" cy="971356"/>
            </a:xfrm>
            <a:prstGeom prst="cube">
              <a:avLst>
                <a:gd name="adj" fmla="val 32025"/>
              </a:avLst>
            </a:prstGeom>
            <a:noFill/>
          </p:spPr>
        </p:pic>
        <p:pic>
          <p:nvPicPr>
            <p:cNvPr id="58" name="Picture 21" descr="https://encrypted-tbn0.gstatic.com/images?q=tbn:ANd9GcQZmWOz3xKGj54fQ8vB84wzX7QY-BbODFR0XIS6qx-mnrquPl-WaA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14282" y="1389792"/>
              <a:ext cx="928694" cy="993535"/>
            </a:xfrm>
            <a:prstGeom prst="cube">
              <a:avLst>
                <a:gd name="adj" fmla="val 16182"/>
              </a:avLst>
            </a:prstGeom>
            <a:noFill/>
          </p:spPr>
        </p:pic>
        <p:pic>
          <p:nvPicPr>
            <p:cNvPr id="59" name="Picture 27" descr="https://encrypted-tbn0.gstatic.com/images?q=tbn:ANd9GcRT8ofIzjC7_Vrw678xJn-f8sqcu8Dxahz2i2XhDxUNToGvG7HXdHgCTfwe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57224" y="1402393"/>
              <a:ext cx="1233487" cy="940277"/>
            </a:xfrm>
            <a:prstGeom prst="cube">
              <a:avLst>
                <a:gd name="adj" fmla="val 29355"/>
              </a:avLst>
            </a:prstGeom>
            <a:noFill/>
          </p:spPr>
        </p:pic>
        <p:pic>
          <p:nvPicPr>
            <p:cNvPr id="60" name="Picture 29" descr="https://encrypted-tbn1.gstatic.com/images?q=tbn:ANd9GcQiFW0CxeuuxOkHAsUrYaja6Fn3mWpCor7N7K0wh2JOnJ-PH5tAp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706689" y="1303597"/>
              <a:ext cx="1222237" cy="1971489"/>
            </a:xfrm>
            <a:prstGeom prst="cube">
              <a:avLst/>
            </a:prstGeom>
            <a:noFill/>
          </p:spPr>
        </p:pic>
        <p:pic>
          <p:nvPicPr>
            <p:cNvPr id="61" name="Picture 31" descr="http://1.bp.blogspot.com/_pXKXwFrEhA0/TTYBV6StKsI/AAAAAAAAArM/x0ArQlJt5mk/s1600/rosas-rojas.jp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014389" y="421458"/>
              <a:ext cx="914537" cy="971356"/>
            </a:xfrm>
            <a:prstGeom prst="cube">
              <a:avLst>
                <a:gd name="adj" fmla="val 26492"/>
              </a:avLst>
            </a:prstGeom>
            <a:noFill/>
          </p:spPr>
        </p:pic>
        <p:pic>
          <p:nvPicPr>
            <p:cNvPr id="62" name="Picture 33" descr="https://encrypted-tbn3.gstatic.com/images?q=tbn:ANd9GcT912IHyNh6PWcfsnXnJry21cCBqJqQf35ISpMaNUgTtxgyjNXf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00125" y="2303729"/>
              <a:ext cx="1157165" cy="971358"/>
            </a:xfrm>
            <a:prstGeom prst="cube">
              <a:avLst>
                <a:gd name="adj" fmla="val 20785"/>
              </a:avLst>
            </a:prstGeom>
            <a:noFill/>
          </p:spPr>
        </p:pic>
        <p:pic>
          <p:nvPicPr>
            <p:cNvPr id="63" name="Picture 25" descr="http://restaurantlaburgalesa.com/wp-content/uploads/camarones1.jpg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28663" y="2232293"/>
              <a:ext cx="928694" cy="1042794"/>
            </a:xfrm>
            <a:prstGeom prst="cube">
              <a:avLst/>
            </a:prstGeom>
            <a:noFill/>
          </p:spPr>
        </p:pic>
      </p:grpSp>
      <p:grpSp>
        <p:nvGrpSpPr>
          <p:cNvPr id="4" name="12 Grupo"/>
          <p:cNvGrpSpPr>
            <a:grpSpLocks/>
          </p:cNvGrpSpPr>
          <p:nvPr/>
        </p:nvGrpSpPr>
        <p:grpSpPr bwMode="auto">
          <a:xfrm>
            <a:off x="2949015" y="3699148"/>
            <a:ext cx="1493837" cy="1325562"/>
            <a:chOff x="3072499" y="571481"/>
            <a:chExt cx="2785385" cy="2084392"/>
          </a:xfrm>
        </p:grpSpPr>
        <p:pic>
          <p:nvPicPr>
            <p:cNvPr id="65" name="Picture 39" descr="http://paralaje.org/industria-quimica-2.jpg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929058" y="574536"/>
              <a:ext cx="1271091" cy="1285883"/>
            </a:xfrm>
            <a:prstGeom prst="cube">
              <a:avLst>
                <a:gd name="adj" fmla="val 23889"/>
              </a:avLst>
            </a:prstGeom>
            <a:noFill/>
          </p:spPr>
        </p:pic>
        <p:pic>
          <p:nvPicPr>
            <p:cNvPr id="66" name="Picture 43" descr="http://www.eluniversal.com.mx/img/2010/10/Fin/plastic-bottles1.jpg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4929191" y="589057"/>
              <a:ext cx="928693" cy="1125431"/>
            </a:xfrm>
            <a:prstGeom prst="cube">
              <a:avLst/>
            </a:prstGeom>
            <a:noFill/>
          </p:spPr>
        </p:pic>
        <p:pic>
          <p:nvPicPr>
            <p:cNvPr id="67" name="Picture 49" descr="http://www.gacetarosarina.com.ar/img/noticias/big/884_1086846480_2008-12-02-industria-automotriz.jpg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4429124" y="1571612"/>
              <a:ext cx="1412323" cy="1084261"/>
            </a:xfrm>
            <a:prstGeom prst="cube">
              <a:avLst/>
            </a:prstGeom>
            <a:noFill/>
          </p:spPr>
        </p:pic>
        <p:pic>
          <p:nvPicPr>
            <p:cNvPr id="68" name="Picture 53" descr="http://www.rayogas.co/resources/images/513r0/40b506e91169f4848be00b055aa3bbc4.jpg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3072499" y="1512866"/>
              <a:ext cx="1526985" cy="1143007"/>
            </a:xfrm>
            <a:prstGeom prst="cube">
              <a:avLst/>
            </a:prstGeom>
            <a:noFill/>
          </p:spPr>
        </p:pic>
        <p:pic>
          <p:nvPicPr>
            <p:cNvPr id="69" name="Picture 37" descr="http://impulsoinformativo.net/wp-content/uploads/2013/07/Qu%C3%ADmica.jpg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143240" y="571481"/>
              <a:ext cx="1034714" cy="1071570"/>
            </a:xfrm>
            <a:prstGeom prst="cube">
              <a:avLst>
                <a:gd name="adj" fmla="val 21312"/>
              </a:avLst>
            </a:prstGeom>
            <a:noFill/>
          </p:spPr>
        </p:pic>
      </p:grpSp>
      <p:sp>
        <p:nvSpPr>
          <p:cNvPr id="70" name="31 Rectángulo redondeado"/>
          <p:cNvSpPr/>
          <p:nvPr/>
        </p:nvSpPr>
        <p:spPr>
          <a:xfrm>
            <a:off x="4655577" y="2089423"/>
            <a:ext cx="2027238" cy="360362"/>
          </a:xfrm>
          <a:prstGeom prst="roundRect">
            <a:avLst>
              <a:gd name="adj" fmla="val 11857"/>
            </a:avLst>
          </a:prstGeom>
          <a:solidFill>
            <a:srgbClr val="996633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>
                <a:solidFill>
                  <a:schemeClr val="bg1"/>
                </a:solidFill>
              </a:rPr>
              <a:t>Cacao Products</a:t>
            </a:r>
          </a:p>
        </p:txBody>
      </p:sp>
      <p:sp>
        <p:nvSpPr>
          <p:cNvPr id="71" name="32 Rectángulo redondeado"/>
          <p:cNvSpPr/>
          <p:nvPr/>
        </p:nvSpPr>
        <p:spPr>
          <a:xfrm>
            <a:off x="6851090" y="2089423"/>
            <a:ext cx="2027237" cy="360362"/>
          </a:xfrm>
          <a:prstGeom prst="roundRect">
            <a:avLst>
              <a:gd name="adj" fmla="val 11857"/>
            </a:avLst>
          </a:prstGeom>
          <a:solidFill>
            <a:srgbClr val="996633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</a:rPr>
              <a:t>Coffee Products</a:t>
            </a:r>
          </a:p>
        </p:txBody>
      </p:sp>
      <p:sp>
        <p:nvSpPr>
          <p:cNvPr id="72" name="34 Rectángulo redondeado"/>
          <p:cNvSpPr/>
          <p:nvPr/>
        </p:nvSpPr>
        <p:spPr>
          <a:xfrm>
            <a:off x="4655577" y="2621235"/>
            <a:ext cx="2027238" cy="360363"/>
          </a:xfrm>
          <a:prstGeom prst="roundRect">
            <a:avLst>
              <a:gd name="adj" fmla="val 11857"/>
            </a:avLst>
          </a:prstGeom>
          <a:solidFill>
            <a:srgbClr val="996633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</a:rPr>
              <a:t>Fisheries Products</a:t>
            </a:r>
          </a:p>
        </p:txBody>
      </p:sp>
      <p:sp>
        <p:nvSpPr>
          <p:cNvPr id="73" name="35 Rectángulo redondeado"/>
          <p:cNvSpPr/>
          <p:nvPr/>
        </p:nvSpPr>
        <p:spPr>
          <a:xfrm>
            <a:off x="6851090" y="2621235"/>
            <a:ext cx="2027237" cy="360363"/>
          </a:xfrm>
          <a:prstGeom prst="roundRect">
            <a:avLst>
              <a:gd name="adj" fmla="val 11857"/>
            </a:avLst>
          </a:prstGeom>
          <a:solidFill>
            <a:srgbClr val="996633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bg1"/>
                </a:solidFill>
              </a:rPr>
              <a:t>Diary Products</a:t>
            </a:r>
          </a:p>
        </p:txBody>
      </p:sp>
      <p:sp>
        <p:nvSpPr>
          <p:cNvPr id="74" name="36 Rectángulo redondeado"/>
          <p:cNvSpPr/>
          <p:nvPr/>
        </p:nvSpPr>
        <p:spPr>
          <a:xfrm>
            <a:off x="4671914" y="3634636"/>
            <a:ext cx="1994446" cy="360362"/>
          </a:xfrm>
          <a:prstGeom prst="roundRect">
            <a:avLst>
              <a:gd name="adj" fmla="val 11857"/>
            </a:avLst>
          </a:prstGeom>
          <a:solidFill>
            <a:srgbClr val="80808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 err="1">
                <a:solidFill>
                  <a:schemeClr val="tx1"/>
                </a:solidFill>
              </a:rPr>
              <a:t>Petrochemistry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75" name="37 Rectángulo redondeado"/>
          <p:cNvSpPr/>
          <p:nvPr/>
        </p:nvSpPr>
        <p:spPr>
          <a:xfrm>
            <a:off x="6851407" y="3629841"/>
            <a:ext cx="1994446" cy="360362"/>
          </a:xfrm>
          <a:prstGeom prst="roundRect">
            <a:avLst>
              <a:gd name="adj" fmla="val 11857"/>
            </a:avLst>
          </a:prstGeom>
          <a:solidFill>
            <a:srgbClr val="80808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Metallurgy</a:t>
            </a:r>
          </a:p>
        </p:txBody>
      </p:sp>
      <p:sp>
        <p:nvSpPr>
          <p:cNvPr id="76" name="38 Rectángulo redondeado"/>
          <p:cNvSpPr/>
          <p:nvPr/>
        </p:nvSpPr>
        <p:spPr>
          <a:xfrm>
            <a:off x="4671914" y="4125105"/>
            <a:ext cx="1994446" cy="360362"/>
          </a:xfrm>
          <a:prstGeom prst="roundRect">
            <a:avLst>
              <a:gd name="adj" fmla="val 11857"/>
            </a:avLst>
          </a:prstGeom>
          <a:solidFill>
            <a:srgbClr val="80808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Chemicals and Pharmaceuticals</a:t>
            </a:r>
          </a:p>
        </p:txBody>
      </p:sp>
      <p:sp>
        <p:nvSpPr>
          <p:cNvPr id="77" name="39 Rectángulo redondeado"/>
          <p:cNvSpPr/>
          <p:nvPr/>
        </p:nvSpPr>
        <p:spPr>
          <a:xfrm>
            <a:off x="6867481" y="4125106"/>
            <a:ext cx="1994446" cy="358775"/>
          </a:xfrm>
          <a:prstGeom prst="roundRect">
            <a:avLst>
              <a:gd name="adj" fmla="val 11857"/>
            </a:avLst>
          </a:prstGeom>
          <a:solidFill>
            <a:srgbClr val="80808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Paper and Cardboard</a:t>
            </a:r>
          </a:p>
        </p:txBody>
      </p:sp>
      <p:sp>
        <p:nvSpPr>
          <p:cNvPr id="78" name="40 Rectángulo redondeado"/>
          <p:cNvSpPr/>
          <p:nvPr/>
        </p:nvSpPr>
        <p:spPr>
          <a:xfrm>
            <a:off x="4671914" y="4690029"/>
            <a:ext cx="1994446" cy="360000"/>
          </a:xfrm>
          <a:prstGeom prst="roundRect">
            <a:avLst>
              <a:gd name="adj" fmla="val 11857"/>
            </a:avLst>
          </a:prstGeom>
          <a:solidFill>
            <a:srgbClr val="80808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Plastics and Rubber</a:t>
            </a:r>
          </a:p>
        </p:txBody>
      </p:sp>
      <p:sp>
        <p:nvSpPr>
          <p:cNvPr id="79" name="41 Rectángulo redondeado"/>
          <p:cNvSpPr/>
          <p:nvPr/>
        </p:nvSpPr>
        <p:spPr>
          <a:xfrm>
            <a:off x="6883554" y="5468668"/>
            <a:ext cx="1994446" cy="381000"/>
          </a:xfrm>
          <a:prstGeom prst="roundRect">
            <a:avLst>
              <a:gd name="adj" fmla="val 11857"/>
            </a:avLst>
          </a:prstGeom>
          <a:solidFill>
            <a:schemeClr val="accent4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Knowledge and Technology</a:t>
            </a:r>
          </a:p>
        </p:txBody>
      </p:sp>
      <p:sp>
        <p:nvSpPr>
          <p:cNvPr id="80" name="42 Rectángulo redondeado"/>
          <p:cNvSpPr/>
          <p:nvPr/>
        </p:nvSpPr>
        <p:spPr>
          <a:xfrm>
            <a:off x="4687987" y="5503976"/>
            <a:ext cx="1994446" cy="382587"/>
          </a:xfrm>
          <a:prstGeom prst="roundRect">
            <a:avLst>
              <a:gd name="adj" fmla="val 11857"/>
            </a:avLst>
          </a:prstGeom>
          <a:solidFill>
            <a:schemeClr val="accent4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Tourism Operators</a:t>
            </a:r>
          </a:p>
        </p:txBody>
      </p:sp>
      <p:sp>
        <p:nvSpPr>
          <p:cNvPr id="81" name="43 Rectángulo redondeado"/>
          <p:cNvSpPr/>
          <p:nvPr/>
        </p:nvSpPr>
        <p:spPr>
          <a:xfrm>
            <a:off x="4671914" y="6053679"/>
            <a:ext cx="1994446" cy="382587"/>
          </a:xfrm>
          <a:prstGeom prst="roundRect">
            <a:avLst>
              <a:gd name="adj" fmla="val 11857"/>
            </a:avLst>
          </a:prstGeom>
          <a:solidFill>
            <a:schemeClr val="accent4">
              <a:lumMod val="60000"/>
              <a:lumOff val="40000"/>
              <a:alpha val="7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Logistics</a:t>
            </a:r>
          </a:p>
        </p:txBody>
      </p:sp>
      <p:sp>
        <p:nvSpPr>
          <p:cNvPr id="82" name="46 Rectángulo redondeado"/>
          <p:cNvSpPr/>
          <p:nvPr/>
        </p:nvSpPr>
        <p:spPr>
          <a:xfrm>
            <a:off x="2948269" y="1317359"/>
            <a:ext cx="1484506" cy="360000"/>
          </a:xfrm>
          <a:prstGeom prst="roundRect">
            <a:avLst>
              <a:gd name="adj" fmla="val 11857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1">
                <a:solidFill>
                  <a:schemeClr val="bg1"/>
                </a:solidFill>
              </a:rPr>
              <a:t>Sectors</a:t>
            </a:r>
          </a:p>
        </p:txBody>
      </p:sp>
      <p:sp>
        <p:nvSpPr>
          <p:cNvPr id="83" name="47 Rectángulo redondeado"/>
          <p:cNvSpPr/>
          <p:nvPr/>
        </p:nvSpPr>
        <p:spPr>
          <a:xfrm>
            <a:off x="4655840" y="1322004"/>
            <a:ext cx="4190013" cy="360000"/>
          </a:xfrm>
          <a:prstGeom prst="roundRect">
            <a:avLst>
              <a:gd name="adj" fmla="val 11857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1">
                <a:solidFill>
                  <a:schemeClr val="bg1"/>
                </a:solidFill>
              </a:rPr>
              <a:t>Value Chains</a:t>
            </a:r>
          </a:p>
        </p:txBody>
      </p:sp>
      <p:sp>
        <p:nvSpPr>
          <p:cNvPr id="84" name="25 Elipse"/>
          <p:cNvSpPr/>
          <p:nvPr/>
        </p:nvSpPr>
        <p:spPr bwMode="auto">
          <a:xfrm>
            <a:off x="1329765" y="2187848"/>
            <a:ext cx="1458912" cy="739775"/>
          </a:xfrm>
          <a:prstGeom prst="ellipse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00" b="1" dirty="0">
                <a:solidFill>
                  <a:schemeClr val="tx1"/>
                </a:solidFill>
              </a:rPr>
              <a:t>PRIMARY</a:t>
            </a:r>
          </a:p>
        </p:txBody>
      </p:sp>
      <p:sp>
        <p:nvSpPr>
          <p:cNvPr id="85" name="25 Elipse"/>
          <p:cNvSpPr/>
          <p:nvPr/>
        </p:nvSpPr>
        <p:spPr bwMode="auto">
          <a:xfrm>
            <a:off x="1334527" y="3989660"/>
            <a:ext cx="1441450" cy="739775"/>
          </a:xfrm>
          <a:prstGeom prst="ellipse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00" b="1" dirty="0">
                <a:solidFill>
                  <a:schemeClr val="tx1"/>
                </a:solidFill>
              </a:rPr>
              <a:t>INDUSTRIAL</a:t>
            </a:r>
          </a:p>
        </p:txBody>
      </p:sp>
      <p:sp>
        <p:nvSpPr>
          <p:cNvPr id="86" name="25 Elipse"/>
          <p:cNvSpPr/>
          <p:nvPr/>
        </p:nvSpPr>
        <p:spPr bwMode="auto">
          <a:xfrm>
            <a:off x="1337702" y="5554935"/>
            <a:ext cx="1460500" cy="739775"/>
          </a:xfrm>
          <a:prstGeom prst="ellipse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00" b="1" dirty="0">
                <a:solidFill>
                  <a:schemeClr val="tx1"/>
                </a:solidFill>
              </a:rPr>
              <a:t>SERVICES</a:t>
            </a:r>
          </a:p>
        </p:txBody>
      </p:sp>
      <p:sp>
        <p:nvSpPr>
          <p:cNvPr id="87" name="40 Rectángulo redondeado"/>
          <p:cNvSpPr/>
          <p:nvPr/>
        </p:nvSpPr>
        <p:spPr>
          <a:xfrm>
            <a:off x="6867481" y="4672159"/>
            <a:ext cx="1994446" cy="360000"/>
          </a:xfrm>
          <a:prstGeom prst="roundRect">
            <a:avLst>
              <a:gd name="adj" fmla="val 11857"/>
            </a:avLst>
          </a:prstGeom>
          <a:solidFill>
            <a:srgbClr val="008000">
              <a:alpha val="69804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dirty="0">
                <a:solidFill>
                  <a:schemeClr val="tx1"/>
                </a:solidFill>
              </a:rPr>
              <a:t>Bio-industries</a:t>
            </a:r>
          </a:p>
        </p:txBody>
      </p:sp>
      <p:sp>
        <p:nvSpPr>
          <p:cNvPr id="88" name="Oval 47"/>
          <p:cNvSpPr/>
          <p:nvPr/>
        </p:nvSpPr>
        <p:spPr>
          <a:xfrm>
            <a:off x="6690752" y="4437335"/>
            <a:ext cx="2359025" cy="766763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pSp>
        <p:nvGrpSpPr>
          <p:cNvPr id="5" name="Grupo 52"/>
          <p:cNvGrpSpPr/>
          <p:nvPr/>
        </p:nvGrpSpPr>
        <p:grpSpPr>
          <a:xfrm>
            <a:off x="9014568" y="1304567"/>
            <a:ext cx="1113880" cy="5352321"/>
            <a:chOff x="10860505" y="905924"/>
            <a:chExt cx="866274" cy="5352321"/>
          </a:xfrm>
          <a:solidFill>
            <a:srgbClr val="00B050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0" name="Flecha abajo 53"/>
            <p:cNvSpPr/>
            <p:nvPr/>
          </p:nvSpPr>
          <p:spPr>
            <a:xfrm>
              <a:off x="10860505" y="905924"/>
              <a:ext cx="866274" cy="5352321"/>
            </a:xfrm>
            <a:prstGeom prst="downArrow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91" name="CuadroTexto 54"/>
            <p:cNvSpPr txBox="1"/>
            <p:nvPr/>
          </p:nvSpPr>
          <p:spPr>
            <a:xfrm rot="16200000">
              <a:off x="8930853" y="3089642"/>
              <a:ext cx="4675239" cy="379832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3200" b="1" dirty="0">
                  <a:solidFill>
                    <a:schemeClr val="bg1"/>
                  </a:solidFill>
                  <a:latin typeface="+mn-lt"/>
                  <a:cs typeface="+mn-cs"/>
                </a:rPr>
                <a:t>B  I  O  D  I  V  E  R  S  I  T  Y </a:t>
              </a:r>
            </a:p>
          </p:txBody>
        </p:sp>
      </p:grpSp>
      <p:sp>
        <p:nvSpPr>
          <p:cNvPr id="50" name="21 Rectángulo"/>
          <p:cNvSpPr/>
          <p:nvPr>
            <p:custDataLst>
              <p:tags r:id="rId1"/>
            </p:custDataLst>
          </p:nvPr>
        </p:nvSpPr>
        <p:spPr>
          <a:xfrm>
            <a:off x="263352" y="332656"/>
            <a:ext cx="10416480" cy="86409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ts val="800"/>
              </a:spcBef>
              <a:spcAft>
                <a:spcPct val="0"/>
              </a:spcAft>
              <a:buSzPct val="100000"/>
            </a:pP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Biodiversity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i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the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National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Plan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for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</a:t>
            </a:r>
            <a:r>
              <a:rPr lang="es-EC" sz="3500" b="1" dirty="0" err="1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Well-Being</a:t>
            </a:r>
            <a:r>
              <a:rPr lang="es-EC" sz="3500" b="1" dirty="0" smtClean="0">
                <a:ln w="11430"/>
                <a:solidFill>
                  <a:srgbClr val="C00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/>
              </a:rPr>
              <a:t> (PNBV)</a:t>
            </a:r>
            <a:endParaRPr lang="en-US" sz="3500" b="1" dirty="0">
              <a:ln w="11430"/>
              <a:solidFill>
                <a:srgbClr val="C0000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0993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uufcwNEGJtQ_n9blC2w"/>
</p:tagLst>
</file>

<file path=ppt/theme/theme1.xml><?xml version="1.0" encoding="utf-8"?>
<a:theme xmlns:a="http://schemas.openxmlformats.org/drawingml/2006/main" name="Oficial MA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21</TotalTime>
  <Words>960</Words>
  <Application>Microsoft Office PowerPoint</Application>
  <PresentationFormat>Custom</PresentationFormat>
  <Paragraphs>190</Paragraphs>
  <Slides>16</Slides>
  <Notes>6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Oficial MAE</vt:lpstr>
      <vt:lpstr>Slide 1</vt:lpstr>
      <vt:lpstr>Slide 2</vt:lpstr>
      <vt:lpstr>CONTENTS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Dell</dc:creator>
  <cp:lastModifiedBy>YdS</cp:lastModifiedBy>
  <cp:revision>438</cp:revision>
  <dcterms:created xsi:type="dcterms:W3CDTF">2013-06-05T20:32:17Z</dcterms:created>
  <dcterms:modified xsi:type="dcterms:W3CDTF">2014-10-21T10:43:11Z</dcterms:modified>
</cp:coreProperties>
</file>